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4"/>
    <p:sldMasterId id="2147483675" r:id="rId5"/>
  </p:sldMasterIdLst>
  <p:notesMasterIdLst>
    <p:notesMasterId r:id="rId20"/>
  </p:notesMasterIdLst>
  <p:handoutMasterIdLst>
    <p:handoutMasterId r:id="rId21"/>
  </p:handoutMasterIdLst>
  <p:sldIdLst>
    <p:sldId id="259" r:id="rId6"/>
    <p:sldId id="2147474199" r:id="rId7"/>
    <p:sldId id="2147474146" r:id="rId8"/>
    <p:sldId id="264" r:id="rId9"/>
    <p:sldId id="258" r:id="rId10"/>
    <p:sldId id="2147474229" r:id="rId11"/>
    <p:sldId id="281" r:id="rId12"/>
    <p:sldId id="266" r:id="rId13"/>
    <p:sldId id="268" r:id="rId14"/>
    <p:sldId id="2147475636" r:id="rId15"/>
    <p:sldId id="2147483644" r:id="rId16"/>
    <p:sldId id="283" r:id="rId17"/>
    <p:sldId id="2147474091" r:id="rId18"/>
    <p:sldId id="274" r:id="rId19"/>
  </p:sldIdLst>
  <p:sldSz cx="12192000" cy="6858000"/>
  <p:notesSz cx="6797675" cy="9926638"/>
  <p:embeddedFontLst>
    <p:embeddedFont>
      <p:font typeface="Wingdings 2" panose="05020102010507070707" pitchFamily="18" charset="2"/>
      <p:regular r:id="rId22"/>
    </p:embeddedFont>
  </p:embeddedFontLst>
  <p:defaultTextStyle>
    <a:defPPr>
      <a:defRPr lang="en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68" userDrawn="1">
          <p15:clr>
            <a:srgbClr val="A4A3A4"/>
          </p15:clr>
        </p15:guide>
        <p15:guide id="2" pos="244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D63D214-8046-7A5F-A7EF-72763E59464C}" name="Poche Sebastián" initials="PS" userId="S::sebastian.poche@cez.cz::e55a7e52-7df9-4d09-a8d3-ac1d5469ae12" providerId="AD"/>
  <p188:author id="{DAEC3023-1766-CE72-23C2-725C868BB50A}" name="Kačmár Jan" initials="KJ" userId="S::jan.kacmar@cez.cz::7f68da4a-1887-42f7-b0dd-83d05baca305" providerId="AD"/>
  <p188:author id="{03B39167-D369-538A-AFF8-30E196DDAB6F}" name="Novotný Lukáš" initials="NL" userId="S::lukas.novotny03@cez.cz::9b50c01d-7846-4fa5-81f5-0c08a46adb33" providerId="AD"/>
  <p188:author id="{73EDE083-0289-3BE6-DF2B-29469810C31A}" name="Krajíček Josef" initials="KJ" userId="S::josef.krajicek@cez.cz::388afc96-221b-43e0-aa61-e3d88220fe76" providerId="AD"/>
  <p188:author id="{6EA977CA-85DF-1B35-5473-7F99D3BCAC69}" name="Hriga Krejčí Kateřina" initials="HKK" userId="S::katerina.hrigakrejci@cez.cz::4cc49195-28d6-41fc-aaca-890b3f09e9b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3C751"/>
    <a:srgbClr val="00C752"/>
    <a:srgbClr val="2D2D2D"/>
    <a:srgbClr val="3637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2D75EA-56FB-4EFB-9070-469B5ADFADBD}" v="2" dt="2025-10-14T08:22:35.978"/>
    <p1510:client id="{49D8AB2D-24A5-49B5-9D77-12540242C6DD}" v="5" dt="2025-10-15T05:15:46.722"/>
    <p1510:client id="{D45F42E2-037C-4274-81F5-EFEBFB93D025}" v="48" dt="2025-10-14T08:28:51.6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>
        <p:guide orient="horz" pos="3168"/>
        <p:guide pos="244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1.fntdata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čmár Jan" userId="7f68da4a-1887-42f7-b0dd-83d05baca305" providerId="ADAL" clId="{49D8AB2D-24A5-49B5-9D77-12540242C6DD}"/>
    <pc:docChg chg="delSld modSld delMainMaster">
      <pc:chgData name="Kačmár Jan" userId="7f68da4a-1887-42f7-b0dd-83d05baca305" providerId="ADAL" clId="{49D8AB2D-24A5-49B5-9D77-12540242C6DD}" dt="2025-10-15T05:15:39.526" v="2" actId="47"/>
      <pc:docMkLst>
        <pc:docMk/>
      </pc:docMkLst>
      <pc:sldChg chg="del">
        <pc:chgData name="Kačmár Jan" userId="7f68da4a-1887-42f7-b0dd-83d05baca305" providerId="ADAL" clId="{49D8AB2D-24A5-49B5-9D77-12540242C6DD}" dt="2025-10-15T05:15:39.526" v="2" actId="47"/>
        <pc:sldMkLst>
          <pc:docMk/>
          <pc:sldMk cId="4103637370" sldId="260"/>
        </pc:sldMkLst>
      </pc:sldChg>
      <pc:sldChg chg="del">
        <pc:chgData name="Kačmár Jan" userId="7f68da4a-1887-42f7-b0dd-83d05baca305" providerId="ADAL" clId="{49D8AB2D-24A5-49B5-9D77-12540242C6DD}" dt="2025-10-15T05:15:39.526" v="2" actId="47"/>
        <pc:sldMkLst>
          <pc:docMk/>
          <pc:sldMk cId="2773223120" sldId="265"/>
        </pc:sldMkLst>
      </pc:sldChg>
      <pc:sldChg chg="del">
        <pc:chgData name="Kačmár Jan" userId="7f68da4a-1887-42f7-b0dd-83d05baca305" providerId="ADAL" clId="{49D8AB2D-24A5-49B5-9D77-12540242C6DD}" dt="2025-10-15T05:15:39.526" v="2" actId="47"/>
        <pc:sldMkLst>
          <pc:docMk/>
          <pc:sldMk cId="2478669161" sldId="280"/>
        </pc:sldMkLst>
      </pc:sldChg>
      <pc:sldChg chg="modNotesTx">
        <pc:chgData name="Kačmár Jan" userId="7f68da4a-1887-42f7-b0dd-83d05baca305" providerId="ADAL" clId="{49D8AB2D-24A5-49B5-9D77-12540242C6DD}" dt="2025-10-15T05:11:44.368" v="0" actId="20577"/>
        <pc:sldMkLst>
          <pc:docMk/>
          <pc:sldMk cId="3918596000" sldId="281"/>
        </pc:sldMkLst>
      </pc:sldChg>
      <pc:sldChg chg="del">
        <pc:chgData name="Kačmár Jan" userId="7f68da4a-1887-42f7-b0dd-83d05baca305" providerId="ADAL" clId="{49D8AB2D-24A5-49B5-9D77-12540242C6DD}" dt="2025-10-15T05:15:39.526" v="2" actId="47"/>
        <pc:sldMkLst>
          <pc:docMk/>
          <pc:sldMk cId="1336404088" sldId="282"/>
        </pc:sldMkLst>
      </pc:sldChg>
      <pc:sldChg chg="modNotesTx">
        <pc:chgData name="Kačmár Jan" userId="7f68da4a-1887-42f7-b0dd-83d05baca305" providerId="ADAL" clId="{49D8AB2D-24A5-49B5-9D77-12540242C6DD}" dt="2025-10-15T05:11:50.371" v="1" actId="20577"/>
        <pc:sldMkLst>
          <pc:docMk/>
          <pc:sldMk cId="4195041349" sldId="2147474229"/>
        </pc:sldMkLst>
      </pc:sldChg>
      <pc:sldChg chg="del">
        <pc:chgData name="Kačmár Jan" userId="7f68da4a-1887-42f7-b0dd-83d05baca305" providerId="ADAL" clId="{49D8AB2D-24A5-49B5-9D77-12540242C6DD}" dt="2025-10-15T05:15:39.526" v="2" actId="47"/>
        <pc:sldMkLst>
          <pc:docMk/>
          <pc:sldMk cId="2865739604" sldId="2147475627"/>
        </pc:sldMkLst>
      </pc:sldChg>
      <pc:sldChg chg="del">
        <pc:chgData name="Kačmár Jan" userId="7f68da4a-1887-42f7-b0dd-83d05baca305" providerId="ADAL" clId="{49D8AB2D-24A5-49B5-9D77-12540242C6DD}" dt="2025-10-15T05:15:39.526" v="2" actId="47"/>
        <pc:sldMkLst>
          <pc:docMk/>
          <pc:sldMk cId="2343813530" sldId="2147475628"/>
        </pc:sldMkLst>
      </pc:sldChg>
      <pc:sldChg chg="del">
        <pc:chgData name="Kačmár Jan" userId="7f68da4a-1887-42f7-b0dd-83d05baca305" providerId="ADAL" clId="{49D8AB2D-24A5-49B5-9D77-12540242C6DD}" dt="2025-10-15T05:15:39.526" v="2" actId="47"/>
        <pc:sldMkLst>
          <pc:docMk/>
          <pc:sldMk cId="2287070783" sldId="2147475635"/>
        </pc:sldMkLst>
      </pc:sldChg>
      <pc:sldMasterChg chg="del delSldLayout">
        <pc:chgData name="Kačmár Jan" userId="7f68da4a-1887-42f7-b0dd-83d05baca305" providerId="ADAL" clId="{49D8AB2D-24A5-49B5-9D77-12540242C6DD}" dt="2025-10-15T05:15:39.526" v="2" actId="47"/>
        <pc:sldMasterMkLst>
          <pc:docMk/>
          <pc:sldMasterMk cId="4013096918" sldId="2147483761"/>
        </pc:sldMasterMkLst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3656224342" sldId="2147483762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601970378" sldId="2147483763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1968844763" sldId="2147483764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2595715667" sldId="2147483765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1433971469" sldId="2147483766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2543299545" sldId="2147483767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3776916371" sldId="2147483768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1651604555" sldId="2147483769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3576765607" sldId="2147483770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3835147676" sldId="2147483771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2216534674" sldId="2147483772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3997945912" sldId="2147483773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1471608820" sldId="2147483774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1114138488" sldId="2147483775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476443034" sldId="2147483776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3627629104" sldId="2147483777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2075166023" sldId="2147483778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1707992146" sldId="2147483779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2105466650" sldId="2147483780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1130785418" sldId="2147483781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381259475" sldId="2147483782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3249271238" sldId="2147483783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2263001894" sldId="2147483784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3380304170" sldId="2147483785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2667370088" sldId="2147483786"/>
          </pc:sldLayoutMkLst>
        </pc:sldLayoutChg>
        <pc:sldLayoutChg chg="del">
          <pc:chgData name="Kačmár Jan" userId="7f68da4a-1887-42f7-b0dd-83d05baca305" providerId="ADAL" clId="{49D8AB2D-24A5-49B5-9D77-12540242C6DD}" dt="2025-10-15T05:15:39.526" v="2" actId="47"/>
          <pc:sldLayoutMkLst>
            <pc:docMk/>
            <pc:sldMasterMk cId="4013096918" sldId="2147483761"/>
            <pc:sldLayoutMk cId="705855467" sldId="2147483787"/>
          </pc:sldLayoutMkLst>
        </pc:sldLayoutChg>
      </pc:sldMasterChg>
    </pc:docChg>
  </pc:docChgLst>
  <pc:docChgLst>
    <pc:chgData name="Kačmár Jan" userId="7f68da4a-1887-42f7-b0dd-83d05baca305" providerId="ADAL" clId="{0E3845A1-BFE2-434B-8ECF-10A3AF66245D}"/>
    <pc:docChg chg="undo custSel addSld delSld modSld">
      <pc:chgData name="Kačmár Jan" userId="7f68da4a-1887-42f7-b0dd-83d05baca305" providerId="ADAL" clId="{0E3845A1-BFE2-434B-8ECF-10A3AF66245D}" dt="2025-09-22T07:38:07.501" v="588" actId="1076"/>
      <pc:docMkLst>
        <pc:docMk/>
      </pc:docMkLst>
      <pc:sldChg chg="del">
        <pc:chgData name="Kačmár Jan" userId="7f68da4a-1887-42f7-b0dd-83d05baca305" providerId="ADAL" clId="{0E3845A1-BFE2-434B-8ECF-10A3AF66245D}" dt="2025-09-19T10:57:30.379" v="79" actId="47"/>
        <pc:sldMkLst>
          <pc:docMk/>
          <pc:sldMk cId="3967025913" sldId="257"/>
        </pc:sldMkLst>
      </pc:sldChg>
      <pc:sldChg chg="delSp modSp mod">
        <pc:chgData name="Kačmár Jan" userId="7f68da4a-1887-42f7-b0dd-83d05baca305" providerId="ADAL" clId="{0E3845A1-BFE2-434B-8ECF-10A3AF66245D}" dt="2025-09-19T11:27:44.644" v="381" actId="478"/>
        <pc:sldMkLst>
          <pc:docMk/>
          <pc:sldMk cId="2314286512" sldId="258"/>
        </pc:sldMkLst>
        <pc:spChg chg="del mod">
          <ac:chgData name="Kačmár Jan" userId="7f68da4a-1887-42f7-b0dd-83d05baca305" providerId="ADAL" clId="{0E3845A1-BFE2-434B-8ECF-10A3AF66245D}" dt="2025-09-19T11:27:44.644" v="381" actId="478"/>
          <ac:spMkLst>
            <pc:docMk/>
            <pc:sldMk cId="2314286512" sldId="258"/>
            <ac:spMk id="18" creationId="{095516B0-175F-646A-B29B-0A7E5AABE79E}"/>
          </ac:spMkLst>
        </pc:spChg>
        <pc:spChg chg="del">
          <ac:chgData name="Kačmár Jan" userId="7f68da4a-1887-42f7-b0dd-83d05baca305" providerId="ADAL" clId="{0E3845A1-BFE2-434B-8ECF-10A3AF66245D}" dt="2025-09-19T11:27:41.787" v="379" actId="478"/>
          <ac:spMkLst>
            <pc:docMk/>
            <pc:sldMk cId="2314286512" sldId="258"/>
            <ac:spMk id="21" creationId="{3A07D702-C6B4-4D24-A181-3E6D7EF74F35}"/>
          </ac:spMkLst>
        </pc:spChg>
        <pc:cxnChg chg="del">
          <ac:chgData name="Kačmár Jan" userId="7f68da4a-1887-42f7-b0dd-83d05baca305" providerId="ADAL" clId="{0E3845A1-BFE2-434B-8ECF-10A3AF66245D}" dt="2025-09-19T11:27:40.986" v="378" actId="478"/>
          <ac:cxnSpMkLst>
            <pc:docMk/>
            <pc:sldMk cId="2314286512" sldId="258"/>
            <ac:cxnSpMk id="22" creationId="{3AEEF837-FA05-14D6-D42F-CDCD5920C29D}"/>
          </ac:cxnSpMkLst>
        </pc:cxnChg>
      </pc:sldChg>
      <pc:sldChg chg="modSp mod">
        <pc:chgData name="Kačmár Jan" userId="7f68da4a-1887-42f7-b0dd-83d05baca305" providerId="ADAL" clId="{0E3845A1-BFE2-434B-8ECF-10A3AF66245D}" dt="2025-09-22T07:38:07.501" v="588" actId="1076"/>
        <pc:sldMkLst>
          <pc:docMk/>
          <pc:sldMk cId="0" sldId="259"/>
        </pc:sldMkLst>
        <pc:spChg chg="mod">
          <ac:chgData name="Kačmár Jan" userId="7f68da4a-1887-42f7-b0dd-83d05baca305" providerId="ADAL" clId="{0E3845A1-BFE2-434B-8ECF-10A3AF66245D}" dt="2025-09-19T11:25:39.278" v="372" actId="14100"/>
          <ac:spMkLst>
            <pc:docMk/>
            <pc:sldMk cId="0" sldId="259"/>
            <ac:spMk id="4" creationId="{6807B6E5-C177-5540-99D1-BA5AE75974BE}"/>
          </ac:spMkLst>
        </pc:spChg>
        <pc:spChg chg="mod">
          <ac:chgData name="Kačmár Jan" userId="7f68da4a-1887-42f7-b0dd-83d05baca305" providerId="ADAL" clId="{0E3845A1-BFE2-434B-8ECF-10A3AF66245D}" dt="2025-09-22T07:38:07.501" v="588" actId="1076"/>
          <ac:spMkLst>
            <pc:docMk/>
            <pc:sldMk cId="0" sldId="259"/>
            <ac:spMk id="5" creationId="{EA5616DA-4550-FB49-BA80-ED584633682B}"/>
          </ac:spMkLst>
        </pc:spChg>
      </pc:sldChg>
      <pc:sldChg chg="delSp modSp mod">
        <pc:chgData name="Kačmár Jan" userId="7f68da4a-1887-42f7-b0dd-83d05baca305" providerId="ADAL" clId="{0E3845A1-BFE2-434B-8ECF-10A3AF66245D}" dt="2025-09-19T11:27:51.220" v="385" actId="478"/>
        <pc:sldMkLst>
          <pc:docMk/>
          <pc:sldMk cId="3192137128" sldId="266"/>
        </pc:sldMkLst>
        <pc:spChg chg="del">
          <ac:chgData name="Kačmár Jan" userId="7f68da4a-1887-42f7-b0dd-83d05baca305" providerId="ADAL" clId="{0E3845A1-BFE2-434B-8ECF-10A3AF66245D}" dt="2025-09-19T11:27:51.220" v="385" actId="478"/>
          <ac:spMkLst>
            <pc:docMk/>
            <pc:sldMk cId="3192137128" sldId="266"/>
            <ac:spMk id="18" creationId="{095516B0-175F-646A-B29B-0A7E5AABE79E}"/>
          </ac:spMkLst>
        </pc:spChg>
        <pc:spChg chg="del mod">
          <ac:chgData name="Kačmár Jan" userId="7f68da4a-1887-42f7-b0dd-83d05baca305" providerId="ADAL" clId="{0E3845A1-BFE2-434B-8ECF-10A3AF66245D}" dt="2025-09-19T11:27:49.475" v="384" actId="478"/>
          <ac:spMkLst>
            <pc:docMk/>
            <pc:sldMk cId="3192137128" sldId="266"/>
            <ac:spMk id="21" creationId="{3A07D702-C6B4-4D24-A181-3E6D7EF74F35}"/>
          </ac:spMkLst>
        </pc:spChg>
        <pc:cxnChg chg="del">
          <ac:chgData name="Kačmár Jan" userId="7f68da4a-1887-42f7-b0dd-83d05baca305" providerId="ADAL" clId="{0E3845A1-BFE2-434B-8ECF-10A3AF66245D}" dt="2025-09-19T11:27:47.618" v="382" actId="478"/>
          <ac:cxnSpMkLst>
            <pc:docMk/>
            <pc:sldMk cId="3192137128" sldId="266"/>
            <ac:cxnSpMk id="22" creationId="{3AEEF837-FA05-14D6-D42F-CDCD5920C29D}"/>
          </ac:cxnSpMkLst>
        </pc:cxnChg>
      </pc:sldChg>
      <pc:sldChg chg="delSp mod">
        <pc:chgData name="Kačmár Jan" userId="7f68da4a-1887-42f7-b0dd-83d05baca305" providerId="ADAL" clId="{0E3845A1-BFE2-434B-8ECF-10A3AF66245D}" dt="2025-09-19T11:18:32.501" v="91" actId="478"/>
        <pc:sldMkLst>
          <pc:docMk/>
          <pc:sldMk cId="3425263032" sldId="267"/>
        </pc:sldMkLst>
        <pc:spChg chg="del">
          <ac:chgData name="Kačmár Jan" userId="7f68da4a-1887-42f7-b0dd-83d05baca305" providerId="ADAL" clId="{0E3845A1-BFE2-434B-8ECF-10A3AF66245D}" dt="2025-09-19T11:18:31.532" v="90" actId="478"/>
          <ac:spMkLst>
            <pc:docMk/>
            <pc:sldMk cId="3425263032" sldId="267"/>
            <ac:spMk id="18" creationId="{095516B0-175F-646A-B29B-0A7E5AABE79E}"/>
          </ac:spMkLst>
        </pc:spChg>
        <pc:spChg chg="del">
          <ac:chgData name="Kačmár Jan" userId="7f68da4a-1887-42f7-b0dd-83d05baca305" providerId="ADAL" clId="{0E3845A1-BFE2-434B-8ECF-10A3AF66245D}" dt="2025-09-19T11:18:30.332" v="89" actId="478"/>
          <ac:spMkLst>
            <pc:docMk/>
            <pc:sldMk cId="3425263032" sldId="267"/>
            <ac:spMk id="21" creationId="{3A07D702-C6B4-4D24-A181-3E6D7EF74F35}"/>
          </ac:spMkLst>
        </pc:spChg>
        <pc:cxnChg chg="del">
          <ac:chgData name="Kačmár Jan" userId="7f68da4a-1887-42f7-b0dd-83d05baca305" providerId="ADAL" clId="{0E3845A1-BFE2-434B-8ECF-10A3AF66245D}" dt="2025-09-19T11:18:32.501" v="91" actId="478"/>
          <ac:cxnSpMkLst>
            <pc:docMk/>
            <pc:sldMk cId="3425263032" sldId="267"/>
            <ac:cxnSpMk id="22" creationId="{3AEEF837-FA05-14D6-D42F-CDCD5920C29D}"/>
          </ac:cxnSpMkLst>
        </pc:cxnChg>
      </pc:sldChg>
      <pc:sldChg chg="del">
        <pc:chgData name="Kačmár Jan" userId="7f68da4a-1887-42f7-b0dd-83d05baca305" providerId="ADAL" clId="{0E3845A1-BFE2-434B-8ECF-10A3AF66245D}" dt="2025-09-19T10:36:38.557" v="2" actId="47"/>
        <pc:sldMkLst>
          <pc:docMk/>
          <pc:sldMk cId="1042845810" sldId="269"/>
        </pc:sldMkLst>
      </pc:sldChg>
      <pc:sldChg chg="modSp mod">
        <pc:chgData name="Kačmár Jan" userId="7f68da4a-1887-42f7-b0dd-83d05baca305" providerId="ADAL" clId="{0E3845A1-BFE2-434B-8ECF-10A3AF66245D}" dt="2025-09-22T07:06:27.807" v="583" actId="404"/>
        <pc:sldMkLst>
          <pc:docMk/>
          <pc:sldMk cId="3763967107" sldId="283"/>
        </pc:sldMkLst>
        <pc:spChg chg="mod">
          <ac:chgData name="Kačmár Jan" userId="7f68da4a-1887-42f7-b0dd-83d05baca305" providerId="ADAL" clId="{0E3845A1-BFE2-434B-8ECF-10A3AF66245D}" dt="2025-09-22T07:06:27.807" v="583" actId="404"/>
          <ac:spMkLst>
            <pc:docMk/>
            <pc:sldMk cId="3763967107" sldId="283"/>
            <ac:spMk id="3" creationId="{1AD4C313-B27D-B5FA-8AD5-A2DE213B3855}"/>
          </ac:spMkLst>
        </pc:spChg>
        <pc:spChg chg="mod">
          <ac:chgData name="Kačmár Jan" userId="7f68da4a-1887-42f7-b0dd-83d05baca305" providerId="ADAL" clId="{0E3845A1-BFE2-434B-8ECF-10A3AF66245D}" dt="2025-09-22T07:04:45.295" v="504" actId="20577"/>
          <ac:spMkLst>
            <pc:docMk/>
            <pc:sldMk cId="3763967107" sldId="283"/>
            <ac:spMk id="4" creationId="{F5150D92-D4F7-00BD-6705-E66914FBA1E7}"/>
          </ac:spMkLst>
        </pc:spChg>
      </pc:sldChg>
      <pc:sldChg chg="modSp mod">
        <pc:chgData name="Kačmár Jan" userId="7f68da4a-1887-42f7-b0dd-83d05baca305" providerId="ADAL" clId="{0E3845A1-BFE2-434B-8ECF-10A3AF66245D}" dt="2025-09-22T06:44:10.580" v="432" actId="1076"/>
        <pc:sldMkLst>
          <pc:docMk/>
          <pc:sldMk cId="756112090" sldId="2147474091"/>
        </pc:sldMkLst>
        <pc:spChg chg="mod">
          <ac:chgData name="Kačmár Jan" userId="7f68da4a-1887-42f7-b0dd-83d05baca305" providerId="ADAL" clId="{0E3845A1-BFE2-434B-8ECF-10A3AF66245D}" dt="2025-09-22T06:44:10.580" v="432" actId="1076"/>
          <ac:spMkLst>
            <pc:docMk/>
            <pc:sldMk cId="756112090" sldId="2147474091"/>
            <ac:spMk id="3" creationId="{55AEA233-B39C-C3B2-FE1D-EC0DB1E93A9F}"/>
          </ac:spMkLst>
        </pc:spChg>
        <pc:spChg chg="mod">
          <ac:chgData name="Kačmár Jan" userId="7f68da4a-1887-42f7-b0dd-83d05baca305" providerId="ADAL" clId="{0E3845A1-BFE2-434B-8ECF-10A3AF66245D}" dt="2025-09-19T11:38:24.081" v="418" actId="1076"/>
          <ac:spMkLst>
            <pc:docMk/>
            <pc:sldMk cId="756112090" sldId="2147474091"/>
            <ac:spMk id="19" creationId="{BE705D2E-90EB-0953-81DB-185D00823F68}"/>
          </ac:spMkLst>
        </pc:spChg>
        <pc:picChg chg="mod">
          <ac:chgData name="Kačmár Jan" userId="7f68da4a-1887-42f7-b0dd-83d05baca305" providerId="ADAL" clId="{0E3845A1-BFE2-434B-8ECF-10A3AF66245D}" dt="2025-09-19T11:38:29.640" v="419" actId="1076"/>
          <ac:picMkLst>
            <pc:docMk/>
            <pc:sldMk cId="756112090" sldId="2147474091"/>
            <ac:picMk id="18" creationId="{ED837B86-BD6E-A468-6CA6-7FF6FB6BCBEB}"/>
          </ac:picMkLst>
        </pc:picChg>
      </pc:sldChg>
      <pc:sldChg chg="modSp mod">
        <pc:chgData name="Kačmár Jan" userId="7f68da4a-1887-42f7-b0dd-83d05baca305" providerId="ADAL" clId="{0E3845A1-BFE2-434B-8ECF-10A3AF66245D}" dt="2025-09-22T07:37:05.538" v="587" actId="20577"/>
        <pc:sldMkLst>
          <pc:docMk/>
          <pc:sldMk cId="2040195261" sldId="2147474146"/>
        </pc:sldMkLst>
        <pc:spChg chg="mod">
          <ac:chgData name="Kačmár Jan" userId="7f68da4a-1887-42f7-b0dd-83d05baca305" providerId="ADAL" clId="{0E3845A1-BFE2-434B-8ECF-10A3AF66245D}" dt="2025-09-22T07:37:05.538" v="587" actId="20577"/>
          <ac:spMkLst>
            <pc:docMk/>
            <pc:sldMk cId="2040195261" sldId="2147474146"/>
            <ac:spMk id="3" creationId="{FBF7A155-6892-4717-6A87-841DA5700158}"/>
          </ac:spMkLst>
        </pc:spChg>
      </pc:sldChg>
      <pc:sldChg chg="addSp delSp mod">
        <pc:chgData name="Kačmár Jan" userId="7f68da4a-1887-42f7-b0dd-83d05baca305" providerId="ADAL" clId="{0E3845A1-BFE2-434B-8ECF-10A3AF66245D}" dt="2025-09-19T11:27:38.628" v="377" actId="478"/>
        <pc:sldMkLst>
          <pc:docMk/>
          <pc:sldMk cId="3767761194" sldId="2147474199"/>
        </pc:sldMkLst>
        <pc:spChg chg="del">
          <ac:chgData name="Kačmár Jan" userId="7f68da4a-1887-42f7-b0dd-83d05baca305" providerId="ADAL" clId="{0E3845A1-BFE2-434B-8ECF-10A3AF66245D}" dt="2025-09-19T11:27:38.628" v="377" actId="478"/>
          <ac:spMkLst>
            <pc:docMk/>
            <pc:sldMk cId="3767761194" sldId="2147474199"/>
            <ac:spMk id="18" creationId="{095516B0-175F-646A-B29B-0A7E5AABE79E}"/>
          </ac:spMkLst>
        </pc:spChg>
        <pc:spChg chg="del">
          <ac:chgData name="Kačmár Jan" userId="7f68da4a-1887-42f7-b0dd-83d05baca305" providerId="ADAL" clId="{0E3845A1-BFE2-434B-8ECF-10A3AF66245D}" dt="2025-09-19T11:27:34.036" v="373" actId="478"/>
          <ac:spMkLst>
            <pc:docMk/>
            <pc:sldMk cId="3767761194" sldId="2147474199"/>
            <ac:spMk id="21" creationId="{3A07D702-C6B4-4D24-A181-3E6D7EF74F35}"/>
          </ac:spMkLst>
        </pc:spChg>
        <pc:cxnChg chg="add del">
          <ac:chgData name="Kačmár Jan" userId="7f68da4a-1887-42f7-b0dd-83d05baca305" providerId="ADAL" clId="{0E3845A1-BFE2-434B-8ECF-10A3AF66245D}" dt="2025-09-19T11:27:36.550" v="375" actId="478"/>
          <ac:cxnSpMkLst>
            <pc:docMk/>
            <pc:sldMk cId="3767761194" sldId="2147474199"/>
            <ac:cxnSpMk id="19" creationId="{8353DDB9-119F-FCBF-B600-F6D0D134F14E}"/>
          </ac:cxnSpMkLst>
        </pc:cxnChg>
        <pc:cxnChg chg="del">
          <ac:chgData name="Kačmár Jan" userId="7f68da4a-1887-42f7-b0dd-83d05baca305" providerId="ADAL" clId="{0E3845A1-BFE2-434B-8ECF-10A3AF66245D}" dt="2025-09-19T11:27:37.811" v="376" actId="478"/>
          <ac:cxnSpMkLst>
            <pc:docMk/>
            <pc:sldMk cId="3767761194" sldId="2147474199"/>
            <ac:cxnSpMk id="22" creationId="{3AEEF837-FA05-14D6-D42F-CDCD5920C29D}"/>
          </ac:cxnSpMkLst>
        </pc:cxnChg>
      </pc:sldChg>
      <pc:sldChg chg="addSp delSp modSp del mod">
        <pc:chgData name="Kačmár Jan" userId="7f68da4a-1887-42f7-b0dd-83d05baca305" providerId="ADAL" clId="{0E3845A1-BFE2-434B-8ECF-10A3AF66245D}" dt="2025-09-19T11:18:04.584" v="87" actId="47"/>
        <pc:sldMkLst>
          <pc:docMk/>
          <pc:sldMk cId="1105980391" sldId="2147475629"/>
        </pc:sldMkLst>
        <pc:spChg chg="del">
          <ac:chgData name="Kačmár Jan" userId="7f68da4a-1887-42f7-b0dd-83d05baca305" providerId="ADAL" clId="{0E3845A1-BFE2-434B-8ECF-10A3AF66245D}" dt="2025-09-19T11:17:29.676" v="81" actId="478"/>
          <ac:spMkLst>
            <pc:docMk/>
            <pc:sldMk cId="1105980391" sldId="2147475629"/>
            <ac:spMk id="4" creationId="{F5F8CEC0-7DF8-A1CF-AD11-E77CC49E7668}"/>
          </ac:spMkLst>
        </pc:spChg>
        <pc:spChg chg="add del mod">
          <ac:chgData name="Kačmár Jan" userId="7f68da4a-1887-42f7-b0dd-83d05baca305" providerId="ADAL" clId="{0E3845A1-BFE2-434B-8ECF-10A3AF66245D}" dt="2025-09-19T11:17:32.354" v="82" actId="478"/>
          <ac:spMkLst>
            <pc:docMk/>
            <pc:sldMk cId="1105980391" sldId="2147475629"/>
            <ac:spMk id="6" creationId="{8CB568AD-9E74-4304-F6CC-9470A84457D6}"/>
          </ac:spMkLst>
        </pc:spChg>
        <pc:picChg chg="del">
          <ac:chgData name="Kačmár Jan" userId="7f68da4a-1887-42f7-b0dd-83d05baca305" providerId="ADAL" clId="{0E3845A1-BFE2-434B-8ECF-10A3AF66245D}" dt="2025-09-19T11:17:33.651" v="83" actId="478"/>
          <ac:picMkLst>
            <pc:docMk/>
            <pc:sldMk cId="1105980391" sldId="2147475629"/>
            <ac:picMk id="5" creationId="{93CF8567-6C81-1B58-9110-24DAEF49CB59}"/>
          </ac:picMkLst>
        </pc:picChg>
        <pc:picChg chg="add mod">
          <ac:chgData name="Kačmár Jan" userId="7f68da4a-1887-42f7-b0dd-83d05baca305" providerId="ADAL" clId="{0E3845A1-BFE2-434B-8ECF-10A3AF66245D}" dt="2025-09-19T11:17:41.467" v="86" actId="1076"/>
          <ac:picMkLst>
            <pc:docMk/>
            <pc:sldMk cId="1105980391" sldId="2147475629"/>
            <ac:picMk id="8" creationId="{E1774BE0-F430-A9CF-100A-889E49B9EC95}"/>
          </ac:picMkLst>
        </pc:picChg>
      </pc:sldChg>
      <pc:sldChg chg="del">
        <pc:chgData name="Kačmár Jan" userId="7f68da4a-1887-42f7-b0dd-83d05baca305" providerId="ADAL" clId="{0E3845A1-BFE2-434B-8ECF-10A3AF66245D}" dt="2025-09-19T11:18:27.910" v="88" actId="47"/>
        <pc:sldMkLst>
          <pc:docMk/>
          <pc:sldMk cId="4262602004" sldId="2147475630"/>
        </pc:sldMkLst>
      </pc:sldChg>
      <pc:sldChg chg="del">
        <pc:chgData name="Kačmár Jan" userId="7f68da4a-1887-42f7-b0dd-83d05baca305" providerId="ADAL" clId="{0E3845A1-BFE2-434B-8ECF-10A3AF66245D}" dt="2025-09-19T10:57:34.424" v="80" actId="47"/>
        <pc:sldMkLst>
          <pc:docMk/>
          <pc:sldMk cId="597002006" sldId="2147475637"/>
        </pc:sldMkLst>
      </pc:sldChg>
      <pc:sldChg chg="modSp mod">
        <pc:chgData name="Kačmár Jan" userId="7f68da4a-1887-42f7-b0dd-83d05baca305" providerId="ADAL" clId="{0E3845A1-BFE2-434B-8ECF-10A3AF66245D}" dt="2025-09-19T10:53:46.935" v="6" actId="20577"/>
        <pc:sldMkLst>
          <pc:docMk/>
          <pc:sldMk cId="493699559" sldId="2147483639"/>
        </pc:sldMkLst>
        <pc:spChg chg="mod">
          <ac:chgData name="Kačmár Jan" userId="7f68da4a-1887-42f7-b0dd-83d05baca305" providerId="ADAL" clId="{0E3845A1-BFE2-434B-8ECF-10A3AF66245D}" dt="2025-09-19T10:53:46.935" v="6" actId="20577"/>
          <ac:spMkLst>
            <pc:docMk/>
            <pc:sldMk cId="493699559" sldId="2147483639"/>
            <ac:spMk id="4" creationId="{1AB348F5-508B-3BFA-6B33-2D85CC033DA9}"/>
          </ac:spMkLst>
        </pc:spChg>
      </pc:sldChg>
      <pc:sldChg chg="del">
        <pc:chgData name="Kačmár Jan" userId="7f68da4a-1887-42f7-b0dd-83d05baca305" providerId="ADAL" clId="{0E3845A1-BFE2-434B-8ECF-10A3AF66245D}" dt="2025-09-19T10:35:31.428" v="0" actId="47"/>
        <pc:sldMkLst>
          <pc:docMk/>
          <pc:sldMk cId="3420688646" sldId="2147483640"/>
        </pc:sldMkLst>
      </pc:sldChg>
      <pc:sldChg chg="del">
        <pc:chgData name="Kačmár Jan" userId="7f68da4a-1887-42f7-b0dd-83d05baca305" providerId="ADAL" clId="{0E3845A1-BFE2-434B-8ECF-10A3AF66245D}" dt="2025-09-19T10:35:46.146" v="1" actId="47"/>
        <pc:sldMkLst>
          <pc:docMk/>
          <pc:sldMk cId="348889253" sldId="2147483642"/>
        </pc:sldMkLst>
      </pc:sldChg>
      <pc:sldChg chg="addSp delSp modSp add mod">
        <pc:chgData name="Kačmár Jan" userId="7f68da4a-1887-42f7-b0dd-83d05baca305" providerId="ADAL" clId="{0E3845A1-BFE2-434B-8ECF-10A3AF66245D}" dt="2025-09-22T07:01:15.140" v="494" actId="14100"/>
        <pc:sldMkLst>
          <pc:docMk/>
          <pc:sldMk cId="3819028548" sldId="2147483644"/>
        </pc:sldMkLst>
        <pc:spChg chg="del">
          <ac:chgData name="Kačmár Jan" userId="7f68da4a-1887-42f7-b0dd-83d05baca305" providerId="ADAL" clId="{0E3845A1-BFE2-434B-8ECF-10A3AF66245D}" dt="2025-09-22T06:39:15.147" v="425" actId="478"/>
          <ac:spMkLst>
            <pc:docMk/>
            <pc:sldMk cId="3819028548" sldId="2147483644"/>
            <ac:spMk id="4" creationId="{7D25BB5F-78CD-A3A6-5A77-062EF1B51731}"/>
          </ac:spMkLst>
        </pc:spChg>
        <pc:spChg chg="del">
          <ac:chgData name="Kačmár Jan" userId="7f68da4a-1887-42f7-b0dd-83d05baca305" providerId="ADAL" clId="{0E3845A1-BFE2-434B-8ECF-10A3AF66245D}" dt="2025-09-22T06:39:12.499" v="424" actId="478"/>
          <ac:spMkLst>
            <pc:docMk/>
            <pc:sldMk cId="3819028548" sldId="2147483644"/>
            <ac:spMk id="5" creationId="{9D8862A7-09C7-2C70-FB16-E2D869C9EF52}"/>
          </ac:spMkLst>
        </pc:spChg>
        <pc:spChg chg="add del mod">
          <ac:chgData name="Kačmár Jan" userId="7f68da4a-1887-42f7-b0dd-83d05baca305" providerId="ADAL" clId="{0E3845A1-BFE2-434B-8ECF-10A3AF66245D}" dt="2025-09-22T06:39:17.606" v="426" actId="478"/>
          <ac:spMkLst>
            <pc:docMk/>
            <pc:sldMk cId="3819028548" sldId="2147483644"/>
            <ac:spMk id="7" creationId="{857A16B2-F049-D031-5713-615E8E3ECF6B}"/>
          </ac:spMkLst>
        </pc:spChg>
        <pc:picChg chg="del">
          <ac:chgData name="Kačmár Jan" userId="7f68da4a-1887-42f7-b0dd-83d05baca305" providerId="ADAL" clId="{0E3845A1-BFE2-434B-8ECF-10A3AF66245D}" dt="2025-09-22T06:39:08.535" v="423" actId="478"/>
          <ac:picMkLst>
            <pc:docMk/>
            <pc:sldMk cId="3819028548" sldId="2147483644"/>
            <ac:picMk id="3" creationId="{2F2F912F-1FB7-FE93-F0A3-A44D69A54B04}"/>
          </ac:picMkLst>
        </pc:picChg>
        <pc:picChg chg="add mod">
          <ac:chgData name="Kačmár Jan" userId="7f68da4a-1887-42f7-b0dd-83d05baca305" providerId="ADAL" clId="{0E3845A1-BFE2-434B-8ECF-10A3AF66245D}" dt="2025-09-22T07:00:52.866" v="489" actId="1076"/>
          <ac:picMkLst>
            <pc:docMk/>
            <pc:sldMk cId="3819028548" sldId="2147483644"/>
            <ac:picMk id="9" creationId="{49782443-8229-600B-B2DD-E7B9FAB13A06}"/>
          </ac:picMkLst>
        </pc:picChg>
        <pc:picChg chg="add mod">
          <ac:chgData name="Kačmár Jan" userId="7f68da4a-1887-42f7-b0dd-83d05baca305" providerId="ADAL" clId="{0E3845A1-BFE2-434B-8ECF-10A3AF66245D}" dt="2025-09-22T07:00:49.359" v="488" actId="1076"/>
          <ac:picMkLst>
            <pc:docMk/>
            <pc:sldMk cId="3819028548" sldId="2147483644"/>
            <ac:picMk id="11" creationId="{9907881C-62B6-CA3A-D5DC-DD601800D94A}"/>
          </ac:picMkLst>
        </pc:picChg>
        <pc:picChg chg="add mod">
          <ac:chgData name="Kačmár Jan" userId="7f68da4a-1887-42f7-b0dd-83d05baca305" providerId="ADAL" clId="{0E3845A1-BFE2-434B-8ECF-10A3AF66245D}" dt="2025-09-22T07:01:15.140" v="494" actId="14100"/>
          <ac:picMkLst>
            <pc:docMk/>
            <pc:sldMk cId="3819028548" sldId="2147483644"/>
            <ac:picMk id="13" creationId="{23372CBD-30DD-1100-94D5-3AA168404588}"/>
          </ac:picMkLst>
        </pc:picChg>
        <pc:picChg chg="add mod">
          <ac:chgData name="Kačmár Jan" userId="7f68da4a-1887-42f7-b0dd-83d05baca305" providerId="ADAL" clId="{0E3845A1-BFE2-434B-8ECF-10A3AF66245D}" dt="2025-09-22T07:01:10.661" v="493" actId="1076"/>
          <ac:picMkLst>
            <pc:docMk/>
            <pc:sldMk cId="3819028548" sldId="2147483644"/>
            <ac:picMk id="15" creationId="{09D25298-BF86-51BB-A34C-928E5614D8DC}"/>
          </ac:picMkLst>
        </pc:picChg>
        <pc:picChg chg="add mod">
          <ac:chgData name="Kačmár Jan" userId="7f68da4a-1887-42f7-b0dd-83d05baca305" providerId="ADAL" clId="{0E3845A1-BFE2-434B-8ECF-10A3AF66245D}" dt="2025-09-22T07:01:05.234" v="492" actId="1076"/>
          <ac:picMkLst>
            <pc:docMk/>
            <pc:sldMk cId="3819028548" sldId="2147483644"/>
            <ac:picMk id="16" creationId="{6281CB5E-F6B2-3055-4563-5494AD0DCD9E}"/>
          </ac:picMkLst>
        </pc:picChg>
      </pc:sldChg>
    </pc:docChg>
  </pc:docChgLst>
  <pc:docChgLst>
    <pc:chgData name="Kačmár Jan" userId="7f68da4a-1887-42f7-b0dd-83d05baca305" providerId="ADAL" clId="{D45F42E2-037C-4274-81F5-EFEBFB93D025}"/>
    <pc:docChg chg="undo custSel addSld delSld modSld sldOrd">
      <pc:chgData name="Kačmár Jan" userId="7f68da4a-1887-42f7-b0dd-83d05baca305" providerId="ADAL" clId="{D45F42E2-037C-4274-81F5-EFEBFB93D025}" dt="2025-10-14T08:28:43.814" v="1045" actId="20577"/>
      <pc:docMkLst>
        <pc:docMk/>
      </pc:docMkLst>
      <pc:sldChg chg="modSp add del mod ord">
        <pc:chgData name="Kačmár Jan" userId="7f68da4a-1887-42f7-b0dd-83d05baca305" providerId="ADAL" clId="{D45F42E2-037C-4274-81F5-EFEBFB93D025}" dt="2025-10-14T06:48:56.473" v="447" actId="47"/>
        <pc:sldMkLst>
          <pc:docMk/>
          <pc:sldMk cId="3967025913" sldId="257"/>
        </pc:sldMkLst>
        <pc:spChg chg="mod">
          <ac:chgData name="Kačmár Jan" userId="7f68da4a-1887-42f7-b0dd-83d05baca305" providerId="ADAL" clId="{D45F42E2-037C-4274-81F5-EFEBFB93D025}" dt="2025-10-14T06:36:43.293" v="445" actId="20577"/>
          <ac:spMkLst>
            <pc:docMk/>
            <pc:sldMk cId="3967025913" sldId="257"/>
            <ac:spMk id="2" creationId="{F4294661-1B9C-F9D1-A4F3-E0CD392BF73F}"/>
          </ac:spMkLst>
        </pc:spChg>
        <pc:spChg chg="mod">
          <ac:chgData name="Kačmár Jan" userId="7f68da4a-1887-42f7-b0dd-83d05baca305" providerId="ADAL" clId="{D45F42E2-037C-4274-81F5-EFEBFB93D025}" dt="2025-10-13T12:38:16.687" v="199" actId="1076"/>
          <ac:spMkLst>
            <pc:docMk/>
            <pc:sldMk cId="3967025913" sldId="257"/>
            <ac:spMk id="3" creationId="{244FFB10-8BF5-B963-391D-8A267F44B8C6}"/>
          </ac:spMkLst>
        </pc:spChg>
        <pc:spChg chg="mod">
          <ac:chgData name="Kačmár Jan" userId="7f68da4a-1887-42f7-b0dd-83d05baca305" providerId="ADAL" clId="{D45F42E2-037C-4274-81F5-EFEBFB93D025}" dt="2025-10-13T12:39:06.122" v="204" actId="1076"/>
          <ac:spMkLst>
            <pc:docMk/>
            <pc:sldMk cId="3967025913" sldId="257"/>
            <ac:spMk id="13" creationId="{65847BE4-9D17-32EB-545A-066F1D8ABE9D}"/>
          </ac:spMkLst>
        </pc:spChg>
        <pc:spChg chg="mod">
          <ac:chgData name="Kačmár Jan" userId="7f68da4a-1887-42f7-b0dd-83d05baca305" providerId="ADAL" clId="{D45F42E2-037C-4274-81F5-EFEBFB93D025}" dt="2025-10-13T12:38:49.868" v="203" actId="1076"/>
          <ac:spMkLst>
            <pc:docMk/>
            <pc:sldMk cId="3967025913" sldId="257"/>
            <ac:spMk id="17" creationId="{73D28628-D243-88E3-AC33-6DEF9B83E521}"/>
          </ac:spMkLst>
        </pc:spChg>
        <pc:spChg chg="mod">
          <ac:chgData name="Kačmár Jan" userId="7f68da4a-1887-42f7-b0dd-83d05baca305" providerId="ADAL" clId="{D45F42E2-037C-4274-81F5-EFEBFB93D025}" dt="2025-10-13T12:38:11.024" v="197" actId="1076"/>
          <ac:spMkLst>
            <pc:docMk/>
            <pc:sldMk cId="3967025913" sldId="257"/>
            <ac:spMk id="26" creationId="{CAC57085-9DF2-8BDC-7DAF-4DBDC6FD2E92}"/>
          </ac:spMkLst>
        </pc:spChg>
        <pc:spChg chg="mod">
          <ac:chgData name="Kačmár Jan" userId="7f68da4a-1887-42f7-b0dd-83d05baca305" providerId="ADAL" clId="{D45F42E2-037C-4274-81F5-EFEBFB93D025}" dt="2025-10-13T12:38:13.587" v="198" actId="1076"/>
          <ac:spMkLst>
            <pc:docMk/>
            <pc:sldMk cId="3967025913" sldId="257"/>
            <ac:spMk id="37" creationId="{E51C105A-7915-23A3-3237-0552BA12AF90}"/>
          </ac:spMkLst>
        </pc:spChg>
        <pc:spChg chg="mod">
          <ac:chgData name="Kačmár Jan" userId="7f68da4a-1887-42f7-b0dd-83d05baca305" providerId="ADAL" clId="{D45F42E2-037C-4274-81F5-EFEBFB93D025}" dt="2025-10-13T12:38:05.141" v="196" actId="1076"/>
          <ac:spMkLst>
            <pc:docMk/>
            <pc:sldMk cId="3967025913" sldId="257"/>
            <ac:spMk id="62" creationId="{9ED5048B-7443-BDA7-958C-3C4183954D93}"/>
          </ac:spMkLst>
        </pc:spChg>
        <pc:spChg chg="mod">
          <ac:chgData name="Kačmár Jan" userId="7f68da4a-1887-42f7-b0dd-83d05baca305" providerId="ADAL" clId="{D45F42E2-037C-4274-81F5-EFEBFB93D025}" dt="2025-10-13T12:38:00.739" v="195" actId="1076"/>
          <ac:spMkLst>
            <pc:docMk/>
            <pc:sldMk cId="3967025913" sldId="257"/>
            <ac:spMk id="90" creationId="{AB5D513A-DF09-7ECD-5F7F-DE6C3C22BB66}"/>
          </ac:spMkLst>
        </pc:spChg>
        <pc:cxnChg chg="mod">
          <ac:chgData name="Kačmár Jan" userId="7f68da4a-1887-42f7-b0dd-83d05baca305" providerId="ADAL" clId="{D45F42E2-037C-4274-81F5-EFEBFB93D025}" dt="2025-10-13T12:38:11.024" v="197" actId="1076"/>
          <ac:cxnSpMkLst>
            <pc:docMk/>
            <pc:sldMk cId="3967025913" sldId="257"/>
            <ac:cxnSpMk id="23" creationId="{7F9488F1-78DB-F1A5-A3C2-5FC3BE14F5EE}"/>
          </ac:cxnSpMkLst>
        </pc:cxnChg>
        <pc:cxnChg chg="mod">
          <ac:chgData name="Kačmár Jan" userId="7f68da4a-1887-42f7-b0dd-83d05baca305" providerId="ADAL" clId="{D45F42E2-037C-4274-81F5-EFEBFB93D025}" dt="2025-10-13T12:38:13.587" v="198" actId="1076"/>
          <ac:cxnSpMkLst>
            <pc:docMk/>
            <pc:sldMk cId="3967025913" sldId="257"/>
            <ac:cxnSpMk id="39" creationId="{CABD613C-A62A-6DFB-58C6-5BB0749B09B3}"/>
          </ac:cxnSpMkLst>
        </pc:cxnChg>
        <pc:cxnChg chg="mod">
          <ac:chgData name="Kačmár Jan" userId="7f68da4a-1887-42f7-b0dd-83d05baca305" providerId="ADAL" clId="{D45F42E2-037C-4274-81F5-EFEBFB93D025}" dt="2025-10-13T12:38:22.049" v="200" actId="14100"/>
          <ac:cxnSpMkLst>
            <pc:docMk/>
            <pc:sldMk cId="3967025913" sldId="257"/>
            <ac:cxnSpMk id="54" creationId="{5EF8E4C3-D792-A3E5-2229-0CA306475403}"/>
          </ac:cxnSpMkLst>
        </pc:cxnChg>
        <pc:cxnChg chg="mod">
          <ac:chgData name="Kačmár Jan" userId="7f68da4a-1887-42f7-b0dd-83d05baca305" providerId="ADAL" clId="{D45F42E2-037C-4274-81F5-EFEBFB93D025}" dt="2025-10-13T12:38:05.141" v="196" actId="1076"/>
          <ac:cxnSpMkLst>
            <pc:docMk/>
            <pc:sldMk cId="3967025913" sldId="257"/>
            <ac:cxnSpMk id="63" creationId="{BD800AB0-8092-11CF-9331-242F39553A33}"/>
          </ac:cxnSpMkLst>
        </pc:cxnChg>
        <pc:cxnChg chg="mod">
          <ac:chgData name="Kačmár Jan" userId="7f68da4a-1887-42f7-b0dd-83d05baca305" providerId="ADAL" clId="{D45F42E2-037C-4274-81F5-EFEBFB93D025}" dt="2025-10-13T12:38:30.653" v="202" actId="14100"/>
          <ac:cxnSpMkLst>
            <pc:docMk/>
            <pc:sldMk cId="3967025913" sldId="257"/>
            <ac:cxnSpMk id="91" creationId="{BDC86F53-7FAF-0C8F-CB85-75EB64BCCE8F}"/>
          </ac:cxnSpMkLst>
        </pc:cxnChg>
      </pc:sldChg>
      <pc:sldChg chg="modSp mod">
        <pc:chgData name="Kačmár Jan" userId="7f68da4a-1887-42f7-b0dd-83d05baca305" providerId="ADAL" clId="{D45F42E2-037C-4274-81F5-EFEBFB93D025}" dt="2025-10-14T06:57:48.588" v="733" actId="20577"/>
        <pc:sldMkLst>
          <pc:docMk/>
          <pc:sldMk cId="0" sldId="259"/>
        </pc:sldMkLst>
        <pc:spChg chg="mod">
          <ac:chgData name="Kačmár Jan" userId="7f68da4a-1887-42f7-b0dd-83d05baca305" providerId="ADAL" clId="{D45F42E2-037C-4274-81F5-EFEBFB93D025}" dt="2025-10-14T06:57:48.588" v="733" actId="20577"/>
          <ac:spMkLst>
            <pc:docMk/>
            <pc:sldMk cId="0" sldId="259"/>
            <ac:spMk id="5" creationId="{EA5616DA-4550-FB49-BA80-ED584633682B}"/>
          </ac:spMkLst>
        </pc:spChg>
      </pc:sldChg>
      <pc:sldChg chg="modSp add mod modCm">
        <pc:chgData name="Kačmár Jan" userId="7f68da4a-1887-42f7-b0dd-83d05baca305" providerId="ADAL" clId="{D45F42E2-037C-4274-81F5-EFEBFB93D025}" dt="2025-10-14T08:28:43.814" v="1045" actId="20577"/>
        <pc:sldMkLst>
          <pc:docMk/>
          <pc:sldMk cId="1774513072" sldId="264"/>
        </pc:sldMkLst>
        <pc:spChg chg="mod">
          <ac:chgData name="Kačmár Jan" userId="7f68da4a-1887-42f7-b0dd-83d05baca305" providerId="ADAL" clId="{D45F42E2-037C-4274-81F5-EFEBFB93D025}" dt="2025-10-14T08:28:43.814" v="1045" actId="20577"/>
          <ac:spMkLst>
            <pc:docMk/>
            <pc:sldMk cId="1774513072" sldId="264"/>
            <ac:spMk id="4" creationId="{F9AF0222-DE88-4ADD-9E01-D2D109AF596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Kačmár Jan" userId="7f68da4a-1887-42f7-b0dd-83d05baca305" providerId="ADAL" clId="{D45F42E2-037C-4274-81F5-EFEBFB93D025}" dt="2025-10-14T08:28:43.814" v="1045" actId="20577"/>
              <pc2:cmMkLst xmlns:pc2="http://schemas.microsoft.com/office/powerpoint/2019/9/main/command">
                <pc:docMk/>
                <pc:sldMk cId="1774513072" sldId="264"/>
                <pc2:cmMk id="{3972E3AE-955B-4638-9E0C-E44625DBF730}"/>
              </pc2:cmMkLst>
            </pc226:cmChg>
          </p:ext>
        </pc:extLst>
      </pc:sldChg>
      <pc:sldChg chg="del">
        <pc:chgData name="Kačmár Jan" userId="7f68da4a-1887-42f7-b0dd-83d05baca305" providerId="ADAL" clId="{D45F42E2-037C-4274-81F5-EFEBFB93D025}" dt="2025-10-13T10:57:02.793" v="12" actId="2696"/>
        <pc:sldMkLst>
          <pc:docMk/>
          <pc:sldMk cId="3425263032" sldId="267"/>
        </pc:sldMkLst>
      </pc:sldChg>
      <pc:sldChg chg="modSp mod">
        <pc:chgData name="Kačmár Jan" userId="7f68da4a-1887-42f7-b0dd-83d05baca305" providerId="ADAL" clId="{D45F42E2-037C-4274-81F5-EFEBFB93D025}" dt="2025-10-13T11:38:11.800" v="166" actId="1076"/>
        <pc:sldMkLst>
          <pc:docMk/>
          <pc:sldMk cId="1252404879" sldId="268"/>
        </pc:sldMkLst>
        <pc:spChg chg="mod">
          <ac:chgData name="Kačmár Jan" userId="7f68da4a-1887-42f7-b0dd-83d05baca305" providerId="ADAL" clId="{D45F42E2-037C-4274-81F5-EFEBFB93D025}" dt="2025-10-13T11:38:07.557" v="165" actId="20577"/>
          <ac:spMkLst>
            <pc:docMk/>
            <pc:sldMk cId="1252404879" sldId="268"/>
            <ac:spMk id="4" creationId="{F0191133-A914-9924-BB50-E9EE7A76D0CE}"/>
          </ac:spMkLst>
        </pc:spChg>
        <pc:picChg chg="mod">
          <ac:chgData name="Kačmár Jan" userId="7f68da4a-1887-42f7-b0dd-83d05baca305" providerId="ADAL" clId="{D45F42E2-037C-4274-81F5-EFEBFB93D025}" dt="2025-10-13T11:38:11.800" v="166" actId="1076"/>
          <ac:picMkLst>
            <pc:docMk/>
            <pc:sldMk cId="1252404879" sldId="268"/>
            <ac:picMk id="5" creationId="{0AE3D232-522D-3958-C372-944B986F600E}"/>
          </ac:picMkLst>
        </pc:picChg>
      </pc:sldChg>
      <pc:sldChg chg="addSp modSp mod">
        <pc:chgData name="Kačmár Jan" userId="7f68da4a-1887-42f7-b0dd-83d05baca305" providerId="ADAL" clId="{D45F42E2-037C-4274-81F5-EFEBFB93D025}" dt="2025-10-14T07:07:57.695" v="798" actId="20577"/>
        <pc:sldMkLst>
          <pc:docMk/>
          <pc:sldMk cId="247348503" sldId="274"/>
        </pc:sldMkLst>
        <pc:spChg chg="mod">
          <ac:chgData name="Kačmár Jan" userId="7f68da4a-1887-42f7-b0dd-83d05baca305" providerId="ADAL" clId="{D45F42E2-037C-4274-81F5-EFEBFB93D025}" dt="2025-10-14T06:55:37.580" v="680" actId="20577"/>
          <ac:spMkLst>
            <pc:docMk/>
            <pc:sldMk cId="247348503" sldId="274"/>
            <ac:spMk id="2" creationId="{D45D8E6B-3AED-5187-724E-B4D493C52EDB}"/>
          </ac:spMkLst>
        </pc:spChg>
        <pc:spChg chg="add mod">
          <ac:chgData name="Kačmár Jan" userId="7f68da4a-1887-42f7-b0dd-83d05baca305" providerId="ADAL" clId="{D45F42E2-037C-4274-81F5-EFEBFB93D025}" dt="2025-10-14T07:07:57.695" v="798" actId="20577"/>
          <ac:spMkLst>
            <pc:docMk/>
            <pc:sldMk cId="247348503" sldId="274"/>
            <ac:spMk id="3" creationId="{4ACE700B-CD4F-EAD0-60C8-FC0A88A84DB7}"/>
          </ac:spMkLst>
        </pc:spChg>
      </pc:sldChg>
      <pc:sldChg chg="addSp delSp modSp add del mod modCm">
        <pc:chgData name="Kačmár Jan" userId="7f68da4a-1887-42f7-b0dd-83d05baca305" providerId="ADAL" clId="{D45F42E2-037C-4274-81F5-EFEBFB93D025}" dt="2025-10-14T08:26:16.605" v="1036" actId="403"/>
        <pc:sldMkLst>
          <pc:docMk/>
          <pc:sldMk cId="3763967107" sldId="283"/>
        </pc:sldMkLst>
        <pc:spChg chg="mod">
          <ac:chgData name="Kačmár Jan" userId="7f68da4a-1887-42f7-b0dd-83d05baca305" providerId="ADAL" clId="{D45F42E2-037C-4274-81F5-EFEBFB93D025}" dt="2025-10-14T07:32:38.822" v="1005" actId="20577"/>
          <ac:spMkLst>
            <pc:docMk/>
            <pc:sldMk cId="3763967107" sldId="283"/>
            <ac:spMk id="2" creationId="{406C851B-D687-A96A-108F-B08B6BD0FB82}"/>
          </ac:spMkLst>
        </pc:spChg>
        <pc:spChg chg="add del mod">
          <ac:chgData name="Kačmár Jan" userId="7f68da4a-1887-42f7-b0dd-83d05baca305" providerId="ADAL" clId="{D45F42E2-037C-4274-81F5-EFEBFB93D025}" dt="2025-10-14T08:26:16.605" v="1036" actId="403"/>
          <ac:spMkLst>
            <pc:docMk/>
            <pc:sldMk cId="3763967107" sldId="283"/>
            <ac:spMk id="3" creationId="{1AD4C313-B27D-B5FA-8AD5-A2DE213B3855}"/>
          </ac:spMkLst>
        </pc:spChg>
        <pc:spChg chg="del mod">
          <ac:chgData name="Kačmár Jan" userId="7f68da4a-1887-42f7-b0dd-83d05baca305" providerId="ADAL" clId="{D45F42E2-037C-4274-81F5-EFEBFB93D025}" dt="2025-10-14T06:49:03.837" v="448" actId="478"/>
          <ac:spMkLst>
            <pc:docMk/>
            <pc:sldMk cId="3763967107" sldId="283"/>
            <ac:spMk id="4" creationId="{F5150D92-D4F7-00BD-6705-E66914FBA1E7}"/>
          </ac:spMkLst>
        </pc:spChg>
        <pc:spChg chg="add del mod">
          <ac:chgData name="Kačmár Jan" userId="7f68da4a-1887-42f7-b0dd-83d05baca305" providerId="ADAL" clId="{D45F42E2-037C-4274-81F5-EFEBFB93D025}" dt="2025-10-14T06:49:14.845" v="453" actId="478"/>
          <ac:spMkLst>
            <pc:docMk/>
            <pc:sldMk cId="3763967107" sldId="283"/>
            <ac:spMk id="6" creationId="{3A9E29B6-433A-AAB4-BD4A-A44023AC607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Kačmár Jan" userId="7f68da4a-1887-42f7-b0dd-83d05baca305" providerId="ADAL" clId="{D45F42E2-037C-4274-81F5-EFEBFB93D025}" dt="2025-10-14T06:50:19.495" v="487" actId="20577"/>
              <pc2:cmMkLst xmlns:pc2="http://schemas.microsoft.com/office/powerpoint/2019/9/main/command">
                <pc:docMk/>
                <pc:sldMk cId="3763967107" sldId="283"/>
                <pc2:cmMk id="{F75F64D0-2E73-4F9F-96A8-6C78CEF2F25D}"/>
              </pc2:cmMkLst>
            </pc226:cmChg>
          </p:ext>
        </pc:extLst>
      </pc:sldChg>
      <pc:sldChg chg="modSp mod modCm">
        <pc:chgData name="Kačmár Jan" userId="7f68da4a-1887-42f7-b0dd-83d05baca305" providerId="ADAL" clId="{D45F42E2-037C-4274-81F5-EFEBFB93D025}" dt="2025-10-13T11:12:19.891" v="101" actId="20577"/>
        <pc:sldMkLst>
          <pc:docMk/>
          <pc:sldMk cId="2040195261" sldId="2147474146"/>
        </pc:sldMkLst>
        <pc:spChg chg="mod">
          <ac:chgData name="Kačmár Jan" userId="7f68da4a-1887-42f7-b0dd-83d05baca305" providerId="ADAL" clId="{D45F42E2-037C-4274-81F5-EFEBFB93D025}" dt="2025-10-13T11:12:19.891" v="101" actId="20577"/>
          <ac:spMkLst>
            <pc:docMk/>
            <pc:sldMk cId="2040195261" sldId="2147474146"/>
            <ac:spMk id="3" creationId="{FBF7A155-6892-4717-6A87-841DA570015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Kačmár Jan" userId="7f68da4a-1887-42f7-b0dd-83d05baca305" providerId="ADAL" clId="{D45F42E2-037C-4274-81F5-EFEBFB93D025}" dt="2025-10-13T11:12:19.891" v="101" actId="20577"/>
              <pc2:cmMkLst xmlns:pc2="http://schemas.microsoft.com/office/powerpoint/2019/9/main/command">
                <pc:docMk/>
                <pc:sldMk cId="2040195261" sldId="2147474146"/>
                <pc2:cmMk id="{5225CBDA-F462-4EEC-8647-0C378D6C1F81}"/>
              </pc2:cmMkLst>
            </pc226:cmChg>
          </p:ext>
        </pc:extLst>
      </pc:sldChg>
      <pc:sldChg chg="modSp mod">
        <pc:chgData name="Kačmár Jan" userId="7f68da4a-1887-42f7-b0dd-83d05baca305" providerId="ADAL" clId="{D45F42E2-037C-4274-81F5-EFEBFB93D025}" dt="2025-10-14T07:02:18.225" v="738" actId="14100"/>
        <pc:sldMkLst>
          <pc:docMk/>
          <pc:sldMk cId="4195041349" sldId="2147474229"/>
        </pc:sldMkLst>
        <pc:picChg chg="mod">
          <ac:chgData name="Kačmár Jan" userId="7f68da4a-1887-42f7-b0dd-83d05baca305" providerId="ADAL" clId="{D45F42E2-037C-4274-81F5-EFEBFB93D025}" dt="2025-10-14T07:02:18.225" v="738" actId="14100"/>
          <ac:picMkLst>
            <pc:docMk/>
            <pc:sldMk cId="4195041349" sldId="2147474229"/>
            <ac:picMk id="17" creationId="{05EF4E7F-11B5-9B48-8B7B-F710F1271B43}"/>
          </ac:picMkLst>
        </pc:picChg>
      </pc:sldChg>
      <pc:sldChg chg="delSp modSp mod">
        <pc:chgData name="Kačmár Jan" userId="7f68da4a-1887-42f7-b0dd-83d05baca305" providerId="ADAL" clId="{D45F42E2-037C-4274-81F5-EFEBFB93D025}" dt="2025-10-14T07:05:15.710" v="790" actId="20577"/>
        <pc:sldMkLst>
          <pc:docMk/>
          <pc:sldMk cId="2478231408" sldId="2147475636"/>
        </pc:sldMkLst>
        <pc:spChg chg="mod">
          <ac:chgData name="Kačmár Jan" userId="7f68da4a-1887-42f7-b0dd-83d05baca305" providerId="ADAL" clId="{D45F42E2-037C-4274-81F5-EFEBFB93D025}" dt="2025-10-14T07:04:45.489" v="770" actId="20577"/>
          <ac:spMkLst>
            <pc:docMk/>
            <pc:sldMk cId="2478231408" sldId="2147475636"/>
            <ac:spMk id="4" creationId="{7D25BB5F-78CD-A3A6-5A77-062EF1B51731}"/>
          </ac:spMkLst>
        </pc:spChg>
        <pc:spChg chg="mod">
          <ac:chgData name="Kačmár Jan" userId="7f68da4a-1887-42f7-b0dd-83d05baca305" providerId="ADAL" clId="{D45F42E2-037C-4274-81F5-EFEBFB93D025}" dt="2025-10-14T07:05:15.710" v="790" actId="20577"/>
          <ac:spMkLst>
            <pc:docMk/>
            <pc:sldMk cId="2478231408" sldId="2147475636"/>
            <ac:spMk id="5" creationId="{9D8862A7-09C7-2C70-FB16-E2D869C9EF52}"/>
          </ac:spMkLst>
        </pc:spChg>
        <pc:picChg chg="del">
          <ac:chgData name="Kačmár Jan" userId="7f68da4a-1887-42f7-b0dd-83d05baca305" providerId="ADAL" clId="{D45F42E2-037C-4274-81F5-EFEBFB93D025}" dt="2025-10-14T05:49:23.344" v="341" actId="478"/>
          <ac:picMkLst>
            <pc:docMk/>
            <pc:sldMk cId="2478231408" sldId="2147475636"/>
            <ac:picMk id="3" creationId="{2F2F912F-1FB7-FE93-F0A3-A44D69A54B04}"/>
          </ac:picMkLst>
        </pc:picChg>
      </pc:sldChg>
      <pc:sldChg chg="modSp del mod">
        <pc:chgData name="Kačmár Jan" userId="7f68da4a-1887-42f7-b0dd-83d05baca305" providerId="ADAL" clId="{D45F42E2-037C-4274-81F5-EFEBFB93D025}" dt="2025-10-13T11:26:23.729" v="112" actId="47"/>
        <pc:sldMkLst>
          <pc:docMk/>
          <pc:sldMk cId="493699559" sldId="2147483639"/>
        </pc:sldMkLst>
        <pc:spChg chg="mod">
          <ac:chgData name="Kačmár Jan" userId="7f68da4a-1887-42f7-b0dd-83d05baca305" providerId="ADAL" clId="{D45F42E2-037C-4274-81F5-EFEBFB93D025}" dt="2025-10-13T11:22:21.047" v="110" actId="20577"/>
          <ac:spMkLst>
            <pc:docMk/>
            <pc:sldMk cId="493699559" sldId="2147483639"/>
            <ac:spMk id="2" creationId="{94FB564C-21D9-3FCD-8592-A736FA7EEA98}"/>
          </ac:spMkLst>
        </pc:spChg>
      </pc:sldChg>
      <pc:sldChg chg="del">
        <pc:chgData name="Kačmár Jan" userId="7f68da4a-1887-42f7-b0dd-83d05baca305" providerId="ADAL" clId="{D45F42E2-037C-4274-81F5-EFEBFB93D025}" dt="2025-10-13T11:35:43.667" v="113" actId="47"/>
        <pc:sldMkLst>
          <pc:docMk/>
          <pc:sldMk cId="3170615529" sldId="2147483643"/>
        </pc:sldMkLst>
      </pc:sldChg>
      <pc:sldChg chg="add del">
        <pc:chgData name="Kačmár Jan" userId="7f68da4a-1887-42f7-b0dd-83d05baca305" providerId="ADAL" clId="{D45F42E2-037C-4274-81F5-EFEBFB93D025}" dt="2025-10-14T07:10:32.124" v="800" actId="47"/>
        <pc:sldMkLst>
          <pc:docMk/>
          <pc:sldMk cId="4091939267" sldId="2147483645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>
            <a:extLst>
              <a:ext uri="{FF2B5EF4-FFF2-40B4-BE49-F238E27FC236}">
                <a16:creationId xmlns:a16="http://schemas.microsoft.com/office/drawing/2014/main" id="{B20AA34D-C0A2-2214-6990-AE730FACE66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631"/>
          </a:xfrm>
          <a:prstGeom prst="rect">
            <a:avLst/>
          </a:prstGeom>
        </p:spPr>
        <p:txBody>
          <a:bodyPr vert="horz" lIns="80275" tIns="40138" rIns="80275" bIns="40138" rtlCol="0"/>
          <a:lstStyle>
            <a:lvl1pPr algn="l">
              <a:defRPr sz="1100"/>
            </a:lvl1pPr>
          </a:lstStyle>
          <a:p>
            <a:endParaRPr lang="cs-CZ"/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C7DB8C99-4A4B-9BD3-4843-8A81C3C959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246" y="0"/>
            <a:ext cx="2945659" cy="498631"/>
          </a:xfrm>
          <a:prstGeom prst="rect">
            <a:avLst/>
          </a:prstGeom>
        </p:spPr>
        <p:txBody>
          <a:bodyPr vert="horz" lIns="80275" tIns="40138" rIns="80275" bIns="40138" rtlCol="0"/>
          <a:lstStyle>
            <a:lvl1pPr algn="r">
              <a:defRPr sz="1100"/>
            </a:lvl1pPr>
          </a:lstStyle>
          <a:p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479B6033-EC50-FBBB-25E6-3EB5371C91A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011"/>
            <a:ext cx="2945659" cy="498629"/>
          </a:xfrm>
          <a:prstGeom prst="rect">
            <a:avLst/>
          </a:prstGeom>
        </p:spPr>
        <p:txBody>
          <a:bodyPr vert="horz" lIns="80275" tIns="40138" rIns="80275" bIns="40138" rtlCol="0" anchor="b"/>
          <a:lstStyle>
            <a:lvl1pPr algn="l">
              <a:defRPr sz="1100"/>
            </a:lvl1pPr>
          </a:lstStyle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F086F2DB-5661-6229-2901-AF31AE05B58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246" y="9428011"/>
            <a:ext cx="2945659" cy="498629"/>
          </a:xfrm>
          <a:prstGeom prst="rect">
            <a:avLst/>
          </a:prstGeom>
        </p:spPr>
        <p:txBody>
          <a:bodyPr vert="horz" lIns="80275" tIns="40138" rIns="80275" bIns="40138" rtlCol="0" anchor="b"/>
          <a:lstStyle>
            <a:lvl1pPr algn="r">
              <a:defRPr sz="1100"/>
            </a:lvl1pPr>
          </a:lstStyle>
          <a:p>
            <a:fld id="{ECEE8015-23B5-43D8-888E-26F9EF9F80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57767764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631"/>
          </a:xfrm>
          <a:prstGeom prst="rect">
            <a:avLst/>
          </a:prstGeom>
        </p:spPr>
        <p:txBody>
          <a:bodyPr vert="horz" lIns="80275" tIns="40138" rIns="80275" bIns="40138" rtlCol="0"/>
          <a:lstStyle>
            <a:lvl1pPr algn="l">
              <a:defRPr sz="1100"/>
            </a:lvl1pPr>
          </a:lstStyle>
          <a:p>
            <a:endParaRPr lang="en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246" y="0"/>
            <a:ext cx="2945659" cy="498631"/>
          </a:xfrm>
          <a:prstGeom prst="rect">
            <a:avLst/>
          </a:prstGeom>
        </p:spPr>
        <p:txBody>
          <a:bodyPr vert="horz" lIns="80275" tIns="40138" rIns="80275" bIns="40138" rtlCol="0"/>
          <a:lstStyle>
            <a:lvl1pPr algn="r">
              <a:defRPr sz="1100"/>
            </a:lvl1pPr>
          </a:lstStyle>
          <a:p>
            <a:endParaRPr lang="en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39838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0275" tIns="40138" rIns="80275" bIns="40138" rtlCol="0" anchor="ctr"/>
          <a:lstStyle/>
          <a:p>
            <a:endParaRPr lang="en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80275" tIns="40138" rIns="80275" bIns="40138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011"/>
            <a:ext cx="2945659" cy="498629"/>
          </a:xfrm>
          <a:prstGeom prst="rect">
            <a:avLst/>
          </a:prstGeom>
        </p:spPr>
        <p:txBody>
          <a:bodyPr vert="horz" lIns="80275" tIns="40138" rIns="80275" bIns="40138" rtlCol="0" anchor="b"/>
          <a:lstStyle>
            <a:lvl1pPr algn="l">
              <a:defRPr sz="1100"/>
            </a:lvl1pPr>
          </a:lstStyle>
          <a:p>
            <a:endParaRPr lang="en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246" y="9428011"/>
            <a:ext cx="2945659" cy="498629"/>
          </a:xfrm>
          <a:prstGeom prst="rect">
            <a:avLst/>
          </a:prstGeom>
        </p:spPr>
        <p:txBody>
          <a:bodyPr vert="horz" lIns="80275" tIns="40138" rIns="80275" bIns="40138" rtlCol="0" anchor="b"/>
          <a:lstStyle>
            <a:lvl1pPr algn="r">
              <a:defRPr sz="1100"/>
            </a:lvl1pPr>
          </a:lstStyle>
          <a:p>
            <a:fld id="{CAE673D0-23DB-BD43-ACA1-43CD0E2954D3}" type="slidenum">
              <a:rPr lang="en-CZ" smtClean="0"/>
              <a:t>‹#›</a:t>
            </a:fld>
            <a:endParaRPr lang="en-CZ"/>
          </a:p>
        </p:txBody>
      </p:sp>
    </p:spTree>
    <p:extLst>
      <p:ext uri="{BB962C8B-B14F-4D97-AF65-F5344CB8AC3E}">
        <p14:creationId xmlns:p14="http://schemas.microsoft.com/office/powerpoint/2010/main" val="317362589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DE559E-B036-0FC2-8189-DC3FE8CD7D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8A1052FC-1642-82A3-62AD-9CFDFA0B1C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F0515683-9EBE-2CBC-B6F3-A28941B3C2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2A38C9A-058D-2598-C9ED-5705475A0C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A2DB32-4072-154C-9ABF-999EDCDDA184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632816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A2DB32-4072-154C-9ABF-999EDCDDA184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946486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A2DB32-4072-154C-9ABF-999EDCDDA184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948534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 lang="en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E673D0-23DB-BD43-ACA1-43CD0E2954D3}" type="slidenum">
              <a:rPr lang="en-CZ" smtClean="0"/>
              <a:t>14</a:t>
            </a:fld>
            <a:endParaRPr lang="en-CZ"/>
          </a:p>
        </p:txBody>
      </p:sp>
    </p:spTree>
    <p:extLst>
      <p:ext uri="{BB962C8B-B14F-4D97-AF65-F5344CB8AC3E}">
        <p14:creationId xmlns:p14="http://schemas.microsoft.com/office/powerpoint/2010/main" val="2870772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>
            <a:extLst>
              <a:ext uri="{FF2B5EF4-FFF2-40B4-BE49-F238E27FC236}">
                <a16:creationId xmlns:a16="http://schemas.microsoft.com/office/drawing/2014/main" id="{E2E87EAA-51F0-067F-FAA6-5E9927829B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22"/>
          <a:stretch/>
        </p:blipFill>
        <p:spPr>
          <a:xfrm>
            <a:off x="5159896" y="0"/>
            <a:ext cx="7032104" cy="6858000"/>
          </a:xfrm>
          <a:prstGeom prst="rect">
            <a:avLst/>
          </a:prstGeom>
        </p:spPr>
      </p:pic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2C9BB94-3B38-D149-AA59-8FBB1C2F63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5E38A212-C36F-7144-9D37-90118F7961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3933056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412E00C7-8B18-2C9D-7073-7808A5FBEA53}"/>
              </a:ext>
            </a:extLst>
          </p:cNvPr>
          <p:cNvSpPr/>
          <p:nvPr userDrawn="1"/>
        </p:nvSpPr>
        <p:spPr>
          <a:xfrm>
            <a:off x="11208568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Z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59360" y="148478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99466" y="148105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839572" y="1484783"/>
            <a:ext cx="3068606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91730CE2-54CA-7822-FC69-21FD079EDD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9360" y="1121014"/>
            <a:ext cx="312408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DB2BF174-208D-4CAA-964B-B20D4BF252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9466" y="1121014"/>
            <a:ext cx="312408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1E70D5AD-B0EC-A0CA-BA0C-514CBDF39E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39572" y="1121014"/>
            <a:ext cx="3068606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1215061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5400" y="980728"/>
            <a:ext cx="4360576" cy="2232248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5400" y="3717032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B63CCBDE-E186-7A2F-6229-94CA73D7B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1904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symbol obrázku 5">
            <a:extLst>
              <a:ext uri="{FF2B5EF4-FFF2-40B4-BE49-F238E27FC236}">
                <a16:creationId xmlns:a16="http://schemas.microsoft.com/office/drawing/2014/main" id="{1F8AB5F7-2014-3DE5-A3E7-7270C5725B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36423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945F3B21-C1EB-48B8-50D4-6A1748F784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7774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78171B0-6EE8-F925-C2D7-E083CA87A0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31904" y="620688"/>
            <a:ext cx="24482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1233071-C0AF-A6FF-94AC-46A2C47190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36423" y="620688"/>
            <a:ext cx="24482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025A8E0E-07B3-81B9-AE5F-9B5C442507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400" y="3356992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9261109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43472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343472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39880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B69B087A-BDA0-4CA2-449A-220C8A0CFC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39880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2BFD1512-966D-221D-D013-1D5926C29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43472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DA5E481-C11E-8F62-C173-EB5E740CA92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39880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DFB8C3E3-2FE9-B311-B7CF-01BBFF854D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46201" y="350100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F4DAA9EE-3EDA-EC4D-177C-25C6F8166D0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42609" y="350100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8207475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43472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39880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DEC724E-C033-F047-E07F-A09C002E2A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46884" y="3789040"/>
            <a:ext cx="8853572" cy="244827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F1F6C668-6FE5-FD98-0570-A9E9B52A58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43472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5FAE5FDF-3F80-54F4-CE26-DBE350647B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39880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B83B143-D77D-61B6-FBCF-F08314D2B28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43472" y="3429000"/>
            <a:ext cx="88535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40730558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6227931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6D106E1-2BA3-6D0D-BE93-FAD81BEA0B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96D3A5E4-D310-DB89-29F2-CCD1C5DFFA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51938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908DA53C-6579-3BD0-5B5E-839900171C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647846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0D4A35CD-ECE1-9CD2-59DC-446B9844E7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3FBEC363-76F6-C438-912D-EF2FD2CD95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FEFA80A1-4C72-C7F2-49F5-D691657C98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073005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92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6829CAE9-7D98-E2FD-C921-54BA8CADC7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464098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0B79C196-4283-06EE-E6EC-CDCF933B83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6990462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57120"/>
            <a:ext cx="10298111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AD1ED3B7-42DB-F308-0499-1C88F389A4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10922001" cy="646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59088635-C4A2-5DE7-C005-B34DB13072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2852936"/>
            <a:ext cx="11009312" cy="1656878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1139666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96344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AF65E1E2-DCA5-AF05-B2E5-B9A612376F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2775080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03937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03937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200281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0281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66DB134B-C8C4-ED9D-ECAA-BA0D3BE24F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91B7FDB3-283F-B7ED-C4C8-6DE20D6262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223577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1219200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B26B058F-4C24-C318-1E84-0729C2B541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641412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78DA8F50-FA33-1D19-B6C1-34ECF45C5D5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4333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C85BB8FE-0315-B0D3-D079-149C3C492E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8461155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CDCCAF09-131E-3E4C-BE38-ACEF58EAB7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0344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F3DE0BA-D7D0-8A00-E37E-03B82DC518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06880" y="3202672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2637118B-9C7E-173F-E637-DEAF4CAAC3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308655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F05EA71-C82B-AA44-A4E8-85F0A5E0E0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6CE203-DE2C-6447-AC60-175A88E4C8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235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E5D401-F9B2-6641-97CF-0037D0D92A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5064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A69235CD-E9C9-BD08-6F7F-570AE6AA2FA5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997823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>
            <a:extLst>
              <a:ext uri="{FF2B5EF4-FFF2-40B4-BE49-F238E27FC236}">
                <a16:creationId xmlns:a16="http://schemas.microsoft.com/office/drawing/2014/main" id="{E2E87EAA-51F0-067F-FAA6-5E9927829B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22"/>
          <a:stretch/>
        </p:blipFill>
        <p:spPr>
          <a:xfrm>
            <a:off x="5159896" y="0"/>
            <a:ext cx="7032104" cy="6858000"/>
          </a:xfrm>
          <a:prstGeom prst="rect">
            <a:avLst/>
          </a:prstGeom>
        </p:spPr>
      </p:pic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2C9BB94-3B38-D149-AA59-8FBB1C2F63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5E38A212-C36F-7144-9D37-90118F7961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3933056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412E00C7-8B18-2C9D-7073-7808A5FBEA53}"/>
              </a:ext>
            </a:extLst>
          </p:cNvPr>
          <p:cNvSpPr/>
          <p:nvPr userDrawn="1"/>
        </p:nvSpPr>
        <p:spPr>
          <a:xfrm>
            <a:off x="11208568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Z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810406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57120"/>
            <a:ext cx="10298111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AD1ED3B7-42DB-F308-0499-1C88F389A4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10922001" cy="646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59088635-C4A2-5DE7-C005-B34DB13072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2852936"/>
            <a:ext cx="11009312" cy="1656878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7843002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7633370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18355" y="1930447"/>
            <a:ext cx="3024859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105B5414-D604-2C67-9C40-9F29B7F3CF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7633368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A6C8BD78-AF5D-FB02-6E05-A11CBACFAD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18354" y="2852936"/>
            <a:ext cx="3024859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6044244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67485" y="1930447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F98EC4A4-0E88-8EBD-0A2A-CA1D4D7A9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7485" y="2854500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0746198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7633370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18355" y="1930447"/>
            <a:ext cx="3024859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105B5414-D604-2C67-9C40-9F29B7F3CF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7633368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A6C8BD78-AF5D-FB02-6E05-A11CBACFAD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18354" y="2852936"/>
            <a:ext cx="3024859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7701983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0AE1F90D-7037-11D7-076F-425EF0C96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6782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6" name="Text Placeholder 19">
            <a:extLst>
              <a:ext uri="{FF2B5EF4-FFF2-40B4-BE49-F238E27FC236}">
                <a16:creationId xmlns:a16="http://schemas.microsoft.com/office/drawing/2014/main" id="{E4190888-F957-A546-F6D6-C49AB95D143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2704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173E74EB-A934-6963-C407-AB4B32DCF6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0863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839157F3-F208-29FD-6B5C-06C1ECE609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26782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7" name="Zástupný text 2">
            <a:extLst>
              <a:ext uri="{FF2B5EF4-FFF2-40B4-BE49-F238E27FC236}">
                <a16:creationId xmlns:a16="http://schemas.microsoft.com/office/drawing/2014/main" id="{0B242EDF-5B3C-5356-1CCB-C122EF7B110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02708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5028272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18527" y="1930447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53" name="Rovnoramenný trojúhelník 51">
            <a:extLst>
              <a:ext uri="{FF2B5EF4-FFF2-40B4-BE49-F238E27FC236}">
                <a16:creationId xmlns:a16="http://schemas.microsoft.com/office/drawing/2014/main" id="{27BC23DB-6645-12C3-D39D-15D9667188D9}"/>
              </a:ext>
            </a:extLst>
          </p:cNvPr>
          <p:cNvSpPr/>
          <p:nvPr userDrawn="1"/>
        </p:nvSpPr>
        <p:spPr>
          <a:xfrm rot="5400000">
            <a:off x="5871690" y="3365278"/>
            <a:ext cx="374705" cy="214117"/>
          </a:xfrm>
          <a:custGeom>
            <a:avLst/>
            <a:gdLst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21103"/>
              <a:gd name="connsiteX1" fmla="*/ 530352 w 1060704"/>
              <a:gd name="connsiteY1" fmla="*/ 0 h 921103"/>
              <a:gd name="connsiteX2" fmla="*/ 1060704 w 1060704"/>
              <a:gd name="connsiteY2" fmla="*/ 914400 h 921103"/>
              <a:gd name="connsiteX3" fmla="*/ 516811 w 1060704"/>
              <a:gd name="connsiteY3" fmla="*/ 921103 h 921103"/>
              <a:gd name="connsiteX4" fmla="*/ 0 w 1060704"/>
              <a:gd name="connsiteY4" fmla="*/ 914400 h 921103"/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08"/>
              <a:gd name="connsiteX1" fmla="*/ 530352 w 1060704"/>
              <a:gd name="connsiteY1" fmla="*/ 0 h 914408"/>
              <a:gd name="connsiteX2" fmla="*/ 1060704 w 1060704"/>
              <a:gd name="connsiteY2" fmla="*/ 914400 h 914408"/>
              <a:gd name="connsiteX3" fmla="*/ 512318 w 1060704"/>
              <a:gd name="connsiteY3" fmla="*/ 789316 h 914408"/>
              <a:gd name="connsiteX4" fmla="*/ 0 w 1060704"/>
              <a:gd name="connsiteY4" fmla="*/ 914400 h 914408"/>
              <a:gd name="connsiteX0" fmla="*/ 0 w 1060704"/>
              <a:gd name="connsiteY0" fmla="*/ 914400 h 914403"/>
              <a:gd name="connsiteX1" fmla="*/ 530352 w 1060704"/>
              <a:gd name="connsiteY1" fmla="*/ 0 h 914403"/>
              <a:gd name="connsiteX2" fmla="*/ 1060704 w 1060704"/>
              <a:gd name="connsiteY2" fmla="*/ 914400 h 914403"/>
              <a:gd name="connsiteX3" fmla="*/ 519907 w 1060704"/>
              <a:gd name="connsiteY3" fmla="*/ 519858 h 914403"/>
              <a:gd name="connsiteX4" fmla="*/ 0 w 1060704"/>
              <a:gd name="connsiteY4" fmla="*/ 914400 h 914403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  <a:gd name="connsiteX0" fmla="*/ 0 w 1060704"/>
              <a:gd name="connsiteY0" fmla="*/ 914400 h 914399"/>
              <a:gd name="connsiteX1" fmla="*/ 530352 w 1060704"/>
              <a:gd name="connsiteY1" fmla="*/ 0 h 914399"/>
              <a:gd name="connsiteX2" fmla="*/ 1060704 w 1060704"/>
              <a:gd name="connsiteY2" fmla="*/ 914400 h 914399"/>
              <a:gd name="connsiteX3" fmla="*/ 531297 w 1060704"/>
              <a:gd name="connsiteY3" fmla="*/ 3710 h 914399"/>
              <a:gd name="connsiteX4" fmla="*/ 0 w 1060704"/>
              <a:gd name="connsiteY4" fmla="*/ 914400 h 914399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704" h="914401">
                <a:moveTo>
                  <a:pt x="0" y="914400"/>
                </a:moveTo>
                <a:lnTo>
                  <a:pt x="530352" y="0"/>
                </a:lnTo>
                <a:lnTo>
                  <a:pt x="1060704" y="914400"/>
                </a:lnTo>
                <a:cubicBezTo>
                  <a:pt x="1043633" y="904331"/>
                  <a:pt x="533192" y="-1403"/>
                  <a:pt x="531297" y="3710"/>
                </a:cubicBezTo>
                <a:cubicBezTo>
                  <a:pt x="531312" y="-139"/>
                  <a:pt x="18968" y="884091"/>
                  <a:pt x="0" y="914400"/>
                </a:cubicBezTo>
                <a:close/>
              </a:path>
            </a:pathLst>
          </a:custGeom>
          <a:noFill/>
          <a:ln w="34925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cs-CZ"/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7BACBAD4-6DA3-FC34-9EBE-50400CF3C8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0862" y="2852936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67CAEF5D-8A72-3ED8-0DF0-628C1A02348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18527" y="2862278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7313886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á strán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DAE7AB3-9B6E-BF47-BB76-1CC7504E66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78311E9-823A-C345-B582-8BE42DF1DB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E20F95B7-E9A7-E44D-9B6C-84F2432512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6577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01F90324-8788-09F4-3BA0-EC9EB6C21700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793037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ka_a_titul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392" y="1628800"/>
            <a:ext cx="10936218" cy="4608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3" y="332656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624201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83686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38984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03280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F4E371C-FF85-034C-CE97-02118F8BCA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67576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93F3FA6-92AB-6241-CAA8-95BBA203DA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3686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E384EC8A-803F-50CF-E7EA-271BB97F0E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38984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BC8D0283-37C0-F910-154D-8138A9CF91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280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DC0D5987-1A9D-5E81-E756-0F9A83AE7B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867576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41697540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59360" y="148478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99466" y="148105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839572" y="1484783"/>
            <a:ext cx="3068606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91730CE2-54CA-7822-FC69-21FD079EDD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9360" y="1121014"/>
            <a:ext cx="312408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DB2BF174-208D-4CAA-964B-B20D4BF252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9466" y="1121014"/>
            <a:ext cx="312408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1E70D5AD-B0EC-A0CA-BA0C-514CBDF39E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39572" y="1121014"/>
            <a:ext cx="3068606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6497696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5400" y="980728"/>
            <a:ext cx="4360576" cy="2232248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5400" y="3717032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B63CCBDE-E186-7A2F-6229-94CA73D7B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1904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symbol obrázku 5">
            <a:extLst>
              <a:ext uri="{FF2B5EF4-FFF2-40B4-BE49-F238E27FC236}">
                <a16:creationId xmlns:a16="http://schemas.microsoft.com/office/drawing/2014/main" id="{1F8AB5F7-2014-3DE5-A3E7-7270C5725B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36423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945F3B21-C1EB-48B8-50D4-6A1748F784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7774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78171B0-6EE8-F925-C2D7-E083CA87A0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31904" y="620688"/>
            <a:ext cx="24482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1233071-C0AF-A6FF-94AC-46A2C47190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36423" y="620688"/>
            <a:ext cx="24482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025A8E0E-07B3-81B9-AE5F-9B5C442507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400" y="3356992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3725316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43472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343472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39880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B69B087A-BDA0-4CA2-449A-220C8A0CFC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39880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2BFD1512-966D-221D-D013-1D5926C29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43472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DA5E481-C11E-8F62-C173-EB5E740CA92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39880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DFB8C3E3-2FE9-B311-B7CF-01BBFF854D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46201" y="350100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F4DAA9EE-3EDA-EC4D-177C-25C6F8166D0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42609" y="350100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40859626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43472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39880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DEC724E-C033-F047-E07F-A09C002E2A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46884" y="3789040"/>
            <a:ext cx="8853572" cy="244827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F1F6C668-6FE5-FD98-0570-A9E9B52A58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43472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5FAE5FDF-3F80-54F4-CE26-DBE350647B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39880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B83B143-D77D-61B6-FBCF-F08314D2B28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43472" y="3429000"/>
            <a:ext cx="88535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5372226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7286923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67485" y="1930447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F98EC4A4-0E88-8EBD-0A2A-CA1D4D7A9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7485" y="2854500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9571976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6D106E1-2BA3-6D0D-BE93-FAD81BEA0B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96D3A5E4-D310-DB89-29F2-CCD1C5DFFA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7108410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908DA53C-6579-3BD0-5B5E-839900171C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0464563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0D4A35CD-ECE1-9CD2-59DC-446B9844E7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3FBEC363-76F6-C438-912D-EF2FD2CD95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FEFA80A1-4C72-C7F2-49F5-D691657C98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4366733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92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6829CAE9-7D98-E2FD-C921-54BA8CADC7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8627067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0B79C196-4283-06EE-E6EC-CDCF933B83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292598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96344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AF65E1E2-DCA5-AF05-B2E5-B9A612376F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568203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03937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03937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200281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0281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66DB134B-C8C4-ED9D-ECAA-BA0D3BE24F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91B7FDB3-283F-B7ED-C4C8-6DE20D6262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9247830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1219200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B26B058F-4C24-C318-1E84-0729C2B541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7873307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78DA8F50-FA33-1D19-B6C1-34ECF45C5D5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4333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C85BB8FE-0315-B0D3-D079-149C3C492E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852756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CDCCAF09-131E-3E4C-BE38-ACEF58EAB7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0344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F3DE0BA-D7D0-8A00-E37E-03B82DC518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06880" y="3202672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2637118B-9C7E-173F-E637-DEAF4CAAC3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8403953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0AE1F90D-7037-11D7-076F-425EF0C96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6782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6" name="Text Placeholder 19">
            <a:extLst>
              <a:ext uri="{FF2B5EF4-FFF2-40B4-BE49-F238E27FC236}">
                <a16:creationId xmlns:a16="http://schemas.microsoft.com/office/drawing/2014/main" id="{E4190888-F957-A546-F6D6-C49AB95D143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2704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173E74EB-A934-6963-C407-AB4B32DCF6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0863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839157F3-F208-29FD-6B5C-06C1ECE609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26782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7" name="Zástupný text 2">
            <a:extLst>
              <a:ext uri="{FF2B5EF4-FFF2-40B4-BE49-F238E27FC236}">
                <a16:creationId xmlns:a16="http://schemas.microsoft.com/office/drawing/2014/main" id="{0B242EDF-5B3C-5356-1CCB-C122EF7B110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02708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8600419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F05EA71-C82B-AA44-A4E8-85F0A5E0E0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6CE203-DE2C-6447-AC60-175A88E4C8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235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E5D401-F9B2-6641-97CF-0037D0D92A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5064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A69235CD-E9C9-BD08-6F7F-570AE6AA2FA5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580910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E8A2A57-E282-417E-A9CC-C5F25AC7B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9831D098-3A23-4173-B353-B67E47AD1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098FBB-9788-4DFE-A210-B81E6FFAB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9" name="Zástupný obsah 3">
            <a:extLst>
              <a:ext uri="{FF2B5EF4-FFF2-40B4-BE49-F238E27FC236}">
                <a16:creationId xmlns:a16="http://schemas.microsoft.com/office/drawing/2014/main" id="{EEE64CD4-6E58-47D3-8896-AD5AB901AD2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419850" y="1796946"/>
            <a:ext cx="4897438" cy="397202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8" name="Zástupný obsah 3">
            <a:extLst>
              <a:ext uri="{FF2B5EF4-FFF2-40B4-BE49-F238E27FC236}">
                <a16:creationId xmlns:a16="http://schemas.microsoft.com/office/drawing/2014/main" id="{263EB879-1B80-4ADE-9CB6-096F088813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199" y="1808163"/>
            <a:ext cx="4464049" cy="396081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9F483FC-3A09-4FD0-AEA1-9105EF9B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946429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0">
          <p15:clr>
            <a:srgbClr val="FBAE40"/>
          </p15:clr>
        </p15:guide>
        <p15:guide id="2" pos="404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0" name="Zástupný linka 3">
            <a:extLst>
              <a:ext uri="{FF2B5EF4-FFF2-40B4-BE49-F238E27FC236}">
                <a16:creationId xmlns:a16="http://schemas.microsoft.com/office/drawing/2014/main" id="{A65DF875-140C-4AB9-9968-462AE4638E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67999" y="2215724"/>
            <a:ext cx="5292000" cy="109538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cs-CZ"/>
              <a:t> 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D0124B-3E7B-4F10-BF41-CF7CADACA7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52000" indent="-252000">
              <a:spcBef>
                <a:spcPts val="3600"/>
              </a:spcBef>
              <a:buClr>
                <a:schemeClr val="accent1"/>
              </a:buClr>
              <a:buFont typeface="Wingdings 2" panose="05020102010507070707" pitchFamily="18" charset="2"/>
              <a:buChar char=""/>
              <a:defRPr sz="2400" b="1"/>
            </a:lvl1pPr>
            <a:lvl2pPr>
              <a:spcBef>
                <a:spcPts val="3600"/>
              </a:spcBef>
              <a:buClr>
                <a:schemeClr val="accent2"/>
              </a:buClr>
              <a:defRPr sz="2400" b="1"/>
            </a:lvl2pPr>
            <a:lvl3pPr>
              <a:spcBef>
                <a:spcPts val="3600"/>
              </a:spcBef>
              <a:defRPr sz="2400" b="1"/>
            </a:lvl3pPr>
            <a:lvl4pPr>
              <a:spcBef>
                <a:spcPts val="3600"/>
              </a:spcBef>
              <a:defRPr sz="2400" b="1"/>
            </a:lvl4pPr>
            <a:lvl5pPr>
              <a:spcBef>
                <a:spcPts val="3600"/>
              </a:spcBef>
              <a:defRPr sz="2400" b="1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70028805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10922001" cy="646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B7D9004-A755-001A-6CC9-458F8341E1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2852936"/>
            <a:ext cx="11009312" cy="1656878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069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18527" y="1930447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53" name="Rovnoramenný trojúhelník 51">
            <a:extLst>
              <a:ext uri="{FF2B5EF4-FFF2-40B4-BE49-F238E27FC236}">
                <a16:creationId xmlns:a16="http://schemas.microsoft.com/office/drawing/2014/main" id="{27BC23DB-6645-12C3-D39D-15D9667188D9}"/>
              </a:ext>
            </a:extLst>
          </p:cNvPr>
          <p:cNvSpPr/>
          <p:nvPr userDrawn="1"/>
        </p:nvSpPr>
        <p:spPr>
          <a:xfrm rot="5400000">
            <a:off x="5871690" y="3365278"/>
            <a:ext cx="374705" cy="214117"/>
          </a:xfrm>
          <a:custGeom>
            <a:avLst/>
            <a:gdLst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21103"/>
              <a:gd name="connsiteX1" fmla="*/ 530352 w 1060704"/>
              <a:gd name="connsiteY1" fmla="*/ 0 h 921103"/>
              <a:gd name="connsiteX2" fmla="*/ 1060704 w 1060704"/>
              <a:gd name="connsiteY2" fmla="*/ 914400 h 921103"/>
              <a:gd name="connsiteX3" fmla="*/ 516811 w 1060704"/>
              <a:gd name="connsiteY3" fmla="*/ 921103 h 921103"/>
              <a:gd name="connsiteX4" fmla="*/ 0 w 1060704"/>
              <a:gd name="connsiteY4" fmla="*/ 914400 h 921103"/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08"/>
              <a:gd name="connsiteX1" fmla="*/ 530352 w 1060704"/>
              <a:gd name="connsiteY1" fmla="*/ 0 h 914408"/>
              <a:gd name="connsiteX2" fmla="*/ 1060704 w 1060704"/>
              <a:gd name="connsiteY2" fmla="*/ 914400 h 914408"/>
              <a:gd name="connsiteX3" fmla="*/ 512318 w 1060704"/>
              <a:gd name="connsiteY3" fmla="*/ 789316 h 914408"/>
              <a:gd name="connsiteX4" fmla="*/ 0 w 1060704"/>
              <a:gd name="connsiteY4" fmla="*/ 914400 h 914408"/>
              <a:gd name="connsiteX0" fmla="*/ 0 w 1060704"/>
              <a:gd name="connsiteY0" fmla="*/ 914400 h 914403"/>
              <a:gd name="connsiteX1" fmla="*/ 530352 w 1060704"/>
              <a:gd name="connsiteY1" fmla="*/ 0 h 914403"/>
              <a:gd name="connsiteX2" fmla="*/ 1060704 w 1060704"/>
              <a:gd name="connsiteY2" fmla="*/ 914400 h 914403"/>
              <a:gd name="connsiteX3" fmla="*/ 519907 w 1060704"/>
              <a:gd name="connsiteY3" fmla="*/ 519858 h 914403"/>
              <a:gd name="connsiteX4" fmla="*/ 0 w 1060704"/>
              <a:gd name="connsiteY4" fmla="*/ 914400 h 914403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  <a:gd name="connsiteX0" fmla="*/ 0 w 1060704"/>
              <a:gd name="connsiteY0" fmla="*/ 914400 h 914399"/>
              <a:gd name="connsiteX1" fmla="*/ 530352 w 1060704"/>
              <a:gd name="connsiteY1" fmla="*/ 0 h 914399"/>
              <a:gd name="connsiteX2" fmla="*/ 1060704 w 1060704"/>
              <a:gd name="connsiteY2" fmla="*/ 914400 h 914399"/>
              <a:gd name="connsiteX3" fmla="*/ 531297 w 1060704"/>
              <a:gd name="connsiteY3" fmla="*/ 3710 h 914399"/>
              <a:gd name="connsiteX4" fmla="*/ 0 w 1060704"/>
              <a:gd name="connsiteY4" fmla="*/ 914400 h 914399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704" h="914401">
                <a:moveTo>
                  <a:pt x="0" y="914400"/>
                </a:moveTo>
                <a:lnTo>
                  <a:pt x="530352" y="0"/>
                </a:lnTo>
                <a:lnTo>
                  <a:pt x="1060704" y="914400"/>
                </a:lnTo>
                <a:cubicBezTo>
                  <a:pt x="1043633" y="904331"/>
                  <a:pt x="533192" y="-1403"/>
                  <a:pt x="531297" y="3710"/>
                </a:cubicBezTo>
                <a:cubicBezTo>
                  <a:pt x="531312" y="-139"/>
                  <a:pt x="18968" y="884091"/>
                  <a:pt x="0" y="914400"/>
                </a:cubicBezTo>
                <a:close/>
              </a:path>
            </a:pathLst>
          </a:custGeom>
          <a:noFill/>
          <a:ln w="34925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cs-CZ"/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7BACBAD4-6DA3-FC34-9EBE-50400CF3C8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0862" y="2852936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67CAEF5D-8A72-3ED8-0DF0-628C1A02348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18527" y="2862278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85327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á strán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DAE7AB3-9B6E-BF47-BB76-1CC7504E66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78311E9-823A-C345-B582-8BE42DF1DB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E20F95B7-E9A7-E44D-9B6C-84F2432512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6577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01F90324-8788-09F4-3BA0-EC9EB6C21700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42272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ka_a_titul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392" y="1628800"/>
            <a:ext cx="10936218" cy="4608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3" y="332656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4121177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83686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38984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03280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F4E371C-FF85-034C-CE97-02118F8BCA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67576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93F3FA6-92AB-6241-CAA8-95BBA203DA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3686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E384EC8A-803F-50CF-E7EA-271BB97F0E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38984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BC8D0283-37C0-F910-154D-8138A9CF91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280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DC0D5987-1A9D-5E81-E756-0F9A83AE7B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867576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1300814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slideLayout" Target="../slideLayouts/slideLayout51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568132" y="9944865"/>
            <a:ext cx="241706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377667" y="9944865"/>
            <a:ext cx="17372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438395" y="9944865"/>
            <a:ext cx="17372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  <p:sp>
        <p:nvSpPr>
          <p:cNvPr id="9" name="TextBox 38">
            <a:extLst>
              <a:ext uri="{FF2B5EF4-FFF2-40B4-BE49-F238E27FC236}">
                <a16:creationId xmlns:a16="http://schemas.microsoft.com/office/drawing/2014/main" id="{773C2588-4111-87C4-EB01-464A4CBCB7D4}"/>
              </a:ext>
            </a:extLst>
          </p:cNvPr>
          <p:cNvSpPr txBox="1"/>
          <p:nvPr userDrawn="1"/>
        </p:nvSpPr>
        <p:spPr>
          <a:xfrm>
            <a:off x="11280576" y="6392361"/>
            <a:ext cx="4320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82FC4441-48AB-466E-B5E2-7FA789F38293}" type="slidenum">
              <a:rPr lang="cs-CZ" sz="1200" smtClean="0">
                <a:solidFill>
                  <a:srgbClr val="3637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CZ" sz="1200">
              <a:solidFill>
                <a:srgbClr val="3637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3CCF8F3B-F835-352F-074E-1A3CE78234A5}"/>
              </a:ext>
            </a:extLst>
          </p:cNvPr>
          <p:cNvSpPr txBox="1"/>
          <p:nvPr userDrawn="1"/>
        </p:nvSpPr>
        <p:spPr>
          <a:xfrm>
            <a:off x="551384" y="6392361"/>
            <a:ext cx="1651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noProof="1">
                <a:solidFill>
                  <a:srgbClr val="00C7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ez.cz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</p:sldLayoutIdLst>
  <p:hf sldNum="0" hd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189" eaLnBrk="1" hangingPunct="1">
        <a:defRPr>
          <a:latin typeface="+mn-lt"/>
          <a:ea typeface="+mn-ea"/>
          <a:cs typeface="+mn-cs"/>
        </a:defRPr>
      </a:lvl2pPr>
      <a:lvl3pPr marL="914377" eaLnBrk="1" hangingPunct="1">
        <a:defRPr>
          <a:latin typeface="+mn-lt"/>
          <a:ea typeface="+mn-ea"/>
          <a:cs typeface="+mn-cs"/>
        </a:defRPr>
      </a:lvl3pPr>
      <a:lvl4pPr marL="1371566" eaLnBrk="1" hangingPunct="1">
        <a:defRPr>
          <a:latin typeface="+mn-lt"/>
          <a:ea typeface="+mn-ea"/>
          <a:cs typeface="+mn-cs"/>
        </a:defRPr>
      </a:lvl4pPr>
      <a:lvl5pPr marL="1828754" eaLnBrk="1" hangingPunct="1">
        <a:defRPr>
          <a:latin typeface="+mn-lt"/>
          <a:ea typeface="+mn-ea"/>
          <a:cs typeface="+mn-cs"/>
        </a:defRPr>
      </a:lvl5pPr>
      <a:lvl6pPr marL="2285943" eaLnBrk="1" hangingPunct="1">
        <a:defRPr>
          <a:latin typeface="+mn-lt"/>
          <a:ea typeface="+mn-ea"/>
          <a:cs typeface="+mn-cs"/>
        </a:defRPr>
      </a:lvl6pPr>
      <a:lvl7pPr marL="2743131" eaLnBrk="1" hangingPunct="1">
        <a:defRPr>
          <a:latin typeface="+mn-lt"/>
          <a:ea typeface="+mn-ea"/>
          <a:cs typeface="+mn-cs"/>
        </a:defRPr>
      </a:lvl7pPr>
      <a:lvl8pPr marL="3200320" eaLnBrk="1" hangingPunct="1">
        <a:defRPr>
          <a:latin typeface="+mn-lt"/>
          <a:ea typeface="+mn-ea"/>
          <a:cs typeface="+mn-cs"/>
        </a:defRPr>
      </a:lvl8pPr>
      <a:lvl9pPr marL="3657509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189" eaLnBrk="1" hangingPunct="1">
        <a:defRPr>
          <a:latin typeface="+mn-lt"/>
          <a:ea typeface="+mn-ea"/>
          <a:cs typeface="+mn-cs"/>
        </a:defRPr>
      </a:lvl2pPr>
      <a:lvl3pPr marL="914377" eaLnBrk="1" hangingPunct="1">
        <a:defRPr>
          <a:latin typeface="+mn-lt"/>
          <a:ea typeface="+mn-ea"/>
          <a:cs typeface="+mn-cs"/>
        </a:defRPr>
      </a:lvl3pPr>
      <a:lvl4pPr marL="1371566" eaLnBrk="1" hangingPunct="1">
        <a:defRPr>
          <a:latin typeface="+mn-lt"/>
          <a:ea typeface="+mn-ea"/>
          <a:cs typeface="+mn-cs"/>
        </a:defRPr>
      </a:lvl4pPr>
      <a:lvl5pPr marL="1828754" eaLnBrk="1" hangingPunct="1">
        <a:defRPr>
          <a:latin typeface="+mn-lt"/>
          <a:ea typeface="+mn-ea"/>
          <a:cs typeface="+mn-cs"/>
        </a:defRPr>
      </a:lvl5pPr>
      <a:lvl6pPr marL="2285943" eaLnBrk="1" hangingPunct="1">
        <a:defRPr>
          <a:latin typeface="+mn-lt"/>
          <a:ea typeface="+mn-ea"/>
          <a:cs typeface="+mn-cs"/>
        </a:defRPr>
      </a:lvl6pPr>
      <a:lvl7pPr marL="2743131" eaLnBrk="1" hangingPunct="1">
        <a:defRPr>
          <a:latin typeface="+mn-lt"/>
          <a:ea typeface="+mn-ea"/>
          <a:cs typeface="+mn-cs"/>
        </a:defRPr>
      </a:lvl7pPr>
      <a:lvl8pPr marL="3200320" eaLnBrk="1" hangingPunct="1">
        <a:defRPr>
          <a:latin typeface="+mn-lt"/>
          <a:ea typeface="+mn-ea"/>
          <a:cs typeface="+mn-cs"/>
        </a:defRPr>
      </a:lvl8pPr>
      <a:lvl9pPr marL="3657509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568132" y="9944865"/>
            <a:ext cx="241706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377667" y="9944865"/>
            <a:ext cx="17372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438395" y="9944865"/>
            <a:ext cx="17372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  <p:sp>
        <p:nvSpPr>
          <p:cNvPr id="9" name="TextBox 38">
            <a:extLst>
              <a:ext uri="{FF2B5EF4-FFF2-40B4-BE49-F238E27FC236}">
                <a16:creationId xmlns:a16="http://schemas.microsoft.com/office/drawing/2014/main" id="{773C2588-4111-87C4-EB01-464A4CBCB7D4}"/>
              </a:ext>
            </a:extLst>
          </p:cNvPr>
          <p:cNvSpPr txBox="1"/>
          <p:nvPr userDrawn="1"/>
        </p:nvSpPr>
        <p:spPr>
          <a:xfrm>
            <a:off x="11280576" y="6392361"/>
            <a:ext cx="4320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82FC4441-48AB-466E-B5E2-7FA789F38293}" type="slidenum">
              <a:rPr lang="cs-CZ" sz="1200" smtClean="0">
                <a:solidFill>
                  <a:srgbClr val="3637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CZ" sz="1200">
              <a:solidFill>
                <a:srgbClr val="3637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3CCF8F3B-F835-352F-074E-1A3CE78234A5}"/>
              </a:ext>
            </a:extLst>
          </p:cNvPr>
          <p:cNvSpPr txBox="1"/>
          <p:nvPr userDrawn="1"/>
        </p:nvSpPr>
        <p:spPr>
          <a:xfrm>
            <a:off x="551384" y="6392361"/>
            <a:ext cx="1651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noProof="1">
                <a:solidFill>
                  <a:srgbClr val="00C7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ez.cz</a:t>
            </a:r>
          </a:p>
        </p:txBody>
      </p:sp>
    </p:spTree>
    <p:extLst>
      <p:ext uri="{BB962C8B-B14F-4D97-AF65-F5344CB8AC3E}">
        <p14:creationId xmlns:p14="http://schemas.microsoft.com/office/powerpoint/2010/main" val="200535692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  <p:sldLayoutId id="2147483699" r:id="rId24"/>
    <p:sldLayoutId id="2147483700" r:id="rId25"/>
    <p:sldLayoutId id="2147483701" r:id="rId26"/>
    <p:sldLayoutId id="2147483702" r:id="rId27"/>
    <p:sldLayoutId id="2147483760" r:id="rId28"/>
  </p:sldLayoutIdLst>
  <p:hf sldNum="0" hd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189" eaLnBrk="1" hangingPunct="1">
        <a:defRPr>
          <a:latin typeface="+mn-lt"/>
          <a:ea typeface="+mn-ea"/>
          <a:cs typeface="+mn-cs"/>
        </a:defRPr>
      </a:lvl2pPr>
      <a:lvl3pPr marL="914377" eaLnBrk="1" hangingPunct="1">
        <a:defRPr>
          <a:latin typeface="+mn-lt"/>
          <a:ea typeface="+mn-ea"/>
          <a:cs typeface="+mn-cs"/>
        </a:defRPr>
      </a:lvl3pPr>
      <a:lvl4pPr marL="1371566" eaLnBrk="1" hangingPunct="1">
        <a:defRPr>
          <a:latin typeface="+mn-lt"/>
          <a:ea typeface="+mn-ea"/>
          <a:cs typeface="+mn-cs"/>
        </a:defRPr>
      </a:lvl4pPr>
      <a:lvl5pPr marL="1828754" eaLnBrk="1" hangingPunct="1">
        <a:defRPr>
          <a:latin typeface="+mn-lt"/>
          <a:ea typeface="+mn-ea"/>
          <a:cs typeface="+mn-cs"/>
        </a:defRPr>
      </a:lvl5pPr>
      <a:lvl6pPr marL="2285943" eaLnBrk="1" hangingPunct="1">
        <a:defRPr>
          <a:latin typeface="+mn-lt"/>
          <a:ea typeface="+mn-ea"/>
          <a:cs typeface="+mn-cs"/>
        </a:defRPr>
      </a:lvl6pPr>
      <a:lvl7pPr marL="2743131" eaLnBrk="1" hangingPunct="1">
        <a:defRPr>
          <a:latin typeface="+mn-lt"/>
          <a:ea typeface="+mn-ea"/>
          <a:cs typeface="+mn-cs"/>
        </a:defRPr>
      </a:lvl7pPr>
      <a:lvl8pPr marL="3200320" eaLnBrk="1" hangingPunct="1">
        <a:defRPr>
          <a:latin typeface="+mn-lt"/>
          <a:ea typeface="+mn-ea"/>
          <a:cs typeface="+mn-cs"/>
        </a:defRPr>
      </a:lvl8pPr>
      <a:lvl9pPr marL="3657509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189" eaLnBrk="1" hangingPunct="1">
        <a:defRPr>
          <a:latin typeface="+mn-lt"/>
          <a:ea typeface="+mn-ea"/>
          <a:cs typeface="+mn-cs"/>
        </a:defRPr>
      </a:lvl2pPr>
      <a:lvl3pPr marL="914377" eaLnBrk="1" hangingPunct="1">
        <a:defRPr>
          <a:latin typeface="+mn-lt"/>
          <a:ea typeface="+mn-ea"/>
          <a:cs typeface="+mn-cs"/>
        </a:defRPr>
      </a:lvl3pPr>
      <a:lvl4pPr marL="1371566" eaLnBrk="1" hangingPunct="1">
        <a:defRPr>
          <a:latin typeface="+mn-lt"/>
          <a:ea typeface="+mn-ea"/>
          <a:cs typeface="+mn-cs"/>
        </a:defRPr>
      </a:lvl4pPr>
      <a:lvl5pPr marL="1828754" eaLnBrk="1" hangingPunct="1">
        <a:defRPr>
          <a:latin typeface="+mn-lt"/>
          <a:ea typeface="+mn-ea"/>
          <a:cs typeface="+mn-cs"/>
        </a:defRPr>
      </a:lvl5pPr>
      <a:lvl6pPr marL="2285943" eaLnBrk="1" hangingPunct="1">
        <a:defRPr>
          <a:latin typeface="+mn-lt"/>
          <a:ea typeface="+mn-ea"/>
          <a:cs typeface="+mn-cs"/>
        </a:defRPr>
      </a:lvl6pPr>
      <a:lvl7pPr marL="2743131" eaLnBrk="1" hangingPunct="1">
        <a:defRPr>
          <a:latin typeface="+mn-lt"/>
          <a:ea typeface="+mn-ea"/>
          <a:cs typeface="+mn-cs"/>
        </a:defRPr>
      </a:lvl7pPr>
      <a:lvl8pPr marL="3200320" eaLnBrk="1" hangingPunct="1">
        <a:defRPr>
          <a:latin typeface="+mn-lt"/>
          <a:ea typeface="+mn-ea"/>
          <a:cs typeface="+mn-cs"/>
        </a:defRPr>
      </a:lvl8pPr>
      <a:lvl9pPr marL="3657509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1.xml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1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07B6E5-C177-5540-99D1-BA5AE75974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735" y="2024406"/>
            <a:ext cx="7588543" cy="1404594"/>
          </a:xfrm>
        </p:spPr>
        <p:txBody>
          <a:bodyPr/>
          <a:lstStyle/>
          <a:p>
            <a:r>
              <a:rPr lang="cs-CZ" sz="3200" dirty="0">
                <a:solidFill>
                  <a:schemeClr val="tx1"/>
                </a:solidFill>
              </a:rPr>
              <a:t>AKTUÁLNÍ INFORMACE K PROJEKTU SMR V TUŠIMICÍCH</a:t>
            </a:r>
            <a:endParaRPr lang="en-GB" sz="3200" dirty="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5616DA-4550-FB49-BA80-ED58463368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3735" y="3507346"/>
            <a:ext cx="5688632" cy="282030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b="1" dirty="0">
                <a:solidFill>
                  <a:schemeClr val="tx1"/>
                </a:solidFill>
                <a:cs typeface="Arial" panose="020B0604020202020204" pitchFamily="34" charset="0"/>
              </a:rPr>
              <a:t>Energetické fórum Ústeckého kraje 2025</a:t>
            </a:r>
          </a:p>
          <a:p>
            <a:pPr>
              <a:spcBef>
                <a:spcPts val="600"/>
              </a:spcBef>
            </a:pPr>
            <a:r>
              <a:rPr lang="cs-CZ" dirty="0">
                <a:cs typeface="Arial" panose="020B0604020202020204" pitchFamily="34" charset="0"/>
              </a:rPr>
              <a:t>Most</a:t>
            </a:r>
            <a:endParaRPr lang="cs-CZ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cs-CZ" dirty="0">
                <a:cs typeface="Arial" panose="020B0604020202020204" pitchFamily="34" charset="0"/>
              </a:rPr>
              <a:t>16. října 2025</a:t>
            </a:r>
          </a:p>
          <a:p>
            <a:pPr>
              <a:spcBef>
                <a:spcPts val="600"/>
              </a:spcBef>
            </a:pPr>
            <a:endParaRPr lang="cs-CZ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cs-CZ" b="1" dirty="0">
                <a:solidFill>
                  <a:schemeClr val="tx1"/>
                </a:solidFill>
                <a:cs typeface="Arial" panose="020B0604020202020204" pitchFamily="34" charset="0"/>
              </a:rPr>
              <a:t>Ing. Jan Kačmár </a:t>
            </a:r>
          </a:p>
          <a:p>
            <a:pPr>
              <a:spcBef>
                <a:spcPts val="600"/>
              </a:spcBef>
            </a:pPr>
            <a:r>
              <a:rPr lang="cs-CZ" dirty="0">
                <a:solidFill>
                  <a:schemeClr val="tx1"/>
                </a:solidFill>
                <a:cs typeface="Arial" panose="020B0604020202020204" pitchFamily="34" charset="0"/>
              </a:rPr>
              <a:t>manažer projektu SMR ETU</a:t>
            </a:r>
          </a:p>
          <a:p>
            <a:pPr>
              <a:spcBef>
                <a:spcPts val="600"/>
              </a:spcBef>
            </a:pPr>
            <a:r>
              <a:rPr lang="cs-CZ" dirty="0">
                <a:cs typeface="Arial" panose="020B0604020202020204" pitchFamily="34" charset="0"/>
              </a:rPr>
              <a:t>divize nová energetika</a:t>
            </a:r>
          </a:p>
          <a:p>
            <a:pPr>
              <a:spcBef>
                <a:spcPts val="600"/>
              </a:spcBef>
            </a:pPr>
            <a:r>
              <a:rPr lang="cs-CZ" dirty="0">
                <a:cs typeface="Arial" panose="020B0604020202020204" pitchFamily="34" charset="0"/>
              </a:rPr>
              <a:t>ČEZ, a. s.</a:t>
            </a:r>
          </a:p>
          <a:p>
            <a:pPr>
              <a:spcBef>
                <a:spcPts val="600"/>
              </a:spcBef>
            </a:pPr>
            <a:endParaRPr lang="cs-CZ" b="1" dirty="0"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592AFD33-3678-C309-8670-31698A5A57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/>
              <a:t>Průzkumy lokality Tušimice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D25BB5F-78CD-A3A6-5A77-062EF1B517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2" y="1225127"/>
            <a:ext cx="11491786" cy="1127498"/>
          </a:xfrm>
        </p:spPr>
        <p:txBody>
          <a:bodyPr lIns="91440" tIns="45720" rIns="91440" bIns="45720" anchor="t"/>
          <a:lstStyle/>
          <a:p>
            <a:pPr marL="0" indent="0" algn="just">
              <a:buNone/>
            </a:pPr>
            <a:r>
              <a:rPr lang="cs-CZ" sz="1800"/>
              <a:t>Pro vydání Povolení k umístění JZ od SÚJB je nutné doložit, že lokalita je z geologického hlediska vhodná a nedochází ke střetu s vyhláškou 378/2016 Sb. o umístění jaderného zařízení.</a:t>
            </a:r>
            <a:endParaRPr lang="cs-CZ" sz="1800">
              <a:cs typeface="Arial"/>
            </a:endParaRPr>
          </a:p>
          <a:p>
            <a:pPr marL="0" indent="0">
              <a:buNone/>
            </a:pPr>
            <a:endParaRPr lang="cs-CZ" sz="1600"/>
          </a:p>
          <a:p>
            <a:endParaRPr lang="cs-CZ"/>
          </a:p>
        </p:txBody>
      </p:sp>
      <p:sp>
        <p:nvSpPr>
          <p:cNvPr id="5" name="Zástupný text 3">
            <a:extLst>
              <a:ext uri="{FF2B5EF4-FFF2-40B4-BE49-F238E27FC236}">
                <a16:creationId xmlns:a16="http://schemas.microsoft.com/office/drawing/2014/main" id="{9D8862A7-09C7-2C70-FB16-E2D869C9EF52}"/>
              </a:ext>
            </a:extLst>
          </p:cNvPr>
          <p:cNvSpPr txBox="1">
            <a:spLocks/>
          </p:cNvSpPr>
          <p:nvPr/>
        </p:nvSpPr>
        <p:spPr>
          <a:xfrm>
            <a:off x="550862" y="2179234"/>
            <a:ext cx="9406953" cy="424365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71450" indent="-171450" eaLnBrk="1" hangingPunct="1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1450" eaLnBrk="1" hangingPunct="1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eaLnBrk="1" hangingPunct="1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3050" indent="-171450" eaLnBrk="1" hangingPunct="1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00250" indent="-171450" eaLnBrk="1" hangingPunct="1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eaLnBrk="1" hangingPunct="1">
              <a:defRPr>
                <a:latin typeface="+mn-lt"/>
                <a:ea typeface="+mn-ea"/>
                <a:cs typeface="+mn-cs"/>
              </a:defRPr>
            </a:lvl6pPr>
            <a:lvl7pPr marL="2743131" eaLnBrk="1" hangingPunct="1">
              <a:defRPr>
                <a:latin typeface="+mn-lt"/>
                <a:ea typeface="+mn-ea"/>
                <a:cs typeface="+mn-cs"/>
              </a:defRPr>
            </a:lvl7pPr>
            <a:lvl8pPr marL="3200320" eaLnBrk="1" hangingPunct="1">
              <a:defRPr>
                <a:latin typeface="+mn-lt"/>
                <a:ea typeface="+mn-ea"/>
                <a:cs typeface="+mn-cs"/>
              </a:defRPr>
            </a:lvl8pPr>
            <a:lvl9pPr marL="3657509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300"/>
              </a:spcAft>
              <a:buNone/>
            </a:pPr>
            <a:r>
              <a:rPr lang="cs-CZ" sz="1800" b="1"/>
              <a:t>Geologické průzkumy</a:t>
            </a:r>
            <a:endParaRPr lang="cs-CZ" sz="1800" b="1">
              <a:cs typeface="Arial"/>
            </a:endParaRPr>
          </a:p>
          <a:p>
            <a:pPr>
              <a:spcAft>
                <a:spcPts val="300"/>
              </a:spcAft>
            </a:pPr>
            <a:r>
              <a:rPr lang="cs-CZ" sz="1800"/>
              <a:t>Průzkum regionálně významných zlomů (geofyzikální měření, vrty a rýhy)</a:t>
            </a:r>
            <a:endParaRPr lang="cs-CZ" sz="1800">
              <a:cs typeface="Arial"/>
            </a:endParaRPr>
          </a:p>
          <a:p>
            <a:pPr>
              <a:spcAft>
                <a:spcPts val="1200"/>
              </a:spcAft>
            </a:pPr>
            <a:r>
              <a:rPr lang="cs-CZ" sz="1800"/>
              <a:t>Vrtné práce na lokalitě pro geotechnický průzkum základových půd</a:t>
            </a:r>
          </a:p>
          <a:p>
            <a:pPr marL="0" indent="0">
              <a:spcBef>
                <a:spcPts val="600"/>
              </a:spcBef>
              <a:spcAft>
                <a:spcPts val="300"/>
              </a:spcAft>
              <a:buNone/>
            </a:pPr>
            <a:r>
              <a:rPr lang="cs-CZ" sz="1800" b="1"/>
              <a:t>Hydrogeologie</a:t>
            </a:r>
            <a:endParaRPr lang="cs-CZ" sz="1800" b="1">
              <a:cs typeface="Arial"/>
            </a:endParaRPr>
          </a:p>
          <a:p>
            <a:pPr>
              <a:spcAft>
                <a:spcPts val="300"/>
              </a:spcAft>
            </a:pPr>
            <a:r>
              <a:rPr lang="cs-CZ" sz="1800"/>
              <a:t>Realizovány vrty pro doplnění hydrogeologického monitoringu lokality</a:t>
            </a:r>
            <a:endParaRPr lang="cs-CZ" sz="1800">
              <a:cs typeface="Arial"/>
            </a:endParaRPr>
          </a:p>
          <a:p>
            <a:pPr>
              <a:spcAft>
                <a:spcPts val="1200"/>
              </a:spcAft>
            </a:pPr>
            <a:r>
              <a:rPr lang="cs-CZ" sz="1800"/>
              <a:t>Měření průtoku povrchových vod a hladin podzemních vod (vstupy do modelu proudění podzemních vod)</a:t>
            </a:r>
          </a:p>
          <a:p>
            <a:pPr marL="0" indent="0">
              <a:spcBef>
                <a:spcPts val="600"/>
              </a:spcBef>
              <a:spcAft>
                <a:spcPts val="300"/>
              </a:spcAft>
              <a:buNone/>
            </a:pPr>
            <a:r>
              <a:rPr lang="cs-CZ" sz="1800" b="1"/>
              <a:t>Seismicita</a:t>
            </a:r>
            <a:endParaRPr lang="cs-CZ" sz="1800" b="1">
              <a:cs typeface="Arial"/>
            </a:endParaRPr>
          </a:p>
          <a:p>
            <a:pPr>
              <a:spcAft>
                <a:spcPts val="300"/>
              </a:spcAft>
            </a:pPr>
            <a:r>
              <a:rPr lang="cs-CZ" sz="1800"/>
              <a:t>Vybudování sítě seismických stanic</a:t>
            </a:r>
          </a:p>
          <a:p>
            <a:pPr lvl="1">
              <a:spcAft>
                <a:spcPts val="300"/>
              </a:spcAft>
            </a:pPr>
            <a:r>
              <a:rPr lang="cs-CZ" sz="1800">
                <a:cs typeface="Arial"/>
              </a:rPr>
              <a:t>Realizovány 2 seismické stanice</a:t>
            </a:r>
          </a:p>
          <a:p>
            <a:pPr lvl="1">
              <a:spcAft>
                <a:spcPts val="300"/>
              </a:spcAft>
            </a:pPr>
            <a:r>
              <a:rPr lang="cs-CZ" sz="1800">
                <a:cs typeface="Arial"/>
              </a:rPr>
              <a:t>Příprava dalších stanic</a:t>
            </a:r>
          </a:p>
          <a:p>
            <a:pPr lvl="1"/>
            <a:endParaRPr lang="cs-CZ" sz="1600"/>
          </a:p>
        </p:txBody>
      </p:sp>
    </p:spTree>
    <p:extLst>
      <p:ext uri="{BB962C8B-B14F-4D97-AF65-F5344CB8AC3E}">
        <p14:creationId xmlns:p14="http://schemas.microsoft.com/office/powerpoint/2010/main" val="24782314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592AFD33-3678-C309-8670-31698A5A57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/>
              <a:t>Průzkumy lokality Tušimice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49782443-8229-600B-B2DD-E7B9FAB13A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52733" y="863359"/>
            <a:ext cx="3597592" cy="2565641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9907881C-62B6-CA3A-D5DC-DD601800D9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5574" y="596049"/>
            <a:ext cx="2592035" cy="3548130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23372CBD-30DD-1100-94D5-3AA1684045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862" y="1060797"/>
            <a:ext cx="3786578" cy="5246715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09D25298-BF86-51BB-A34C-928E5614D8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3201" y="3748137"/>
            <a:ext cx="3632872" cy="2752743"/>
          </a:xfrm>
          <a:prstGeom prst="rect">
            <a:avLst/>
          </a:prstGeom>
        </p:spPr>
      </p:pic>
      <p:pic>
        <p:nvPicPr>
          <p:cNvPr id="16" name="Obrázek 15" descr="Obsah obrázku venku, území, obloha, Kompozitní materiál&#10;&#10;Popis byl vytvořen automaticky">
            <a:extLst>
              <a:ext uri="{FF2B5EF4-FFF2-40B4-BE49-F238E27FC236}">
                <a16:creationId xmlns:a16="http://schemas.microsoft.com/office/drawing/2014/main" id="{6281CB5E-F6B2-3055-4563-5494AD0DCD9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4818" y="4390563"/>
            <a:ext cx="2961005" cy="2221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0285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406C851B-D687-A96A-108F-B08B6BD0FB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Projektové aktivity v přípravě projektu SMR ETU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1AD4C313-B27D-B5FA-8AD5-A2DE213B3855}"/>
              </a:ext>
            </a:extLst>
          </p:cNvPr>
          <p:cNvSpPr txBox="1"/>
          <p:nvPr/>
        </p:nvSpPr>
        <p:spPr>
          <a:xfrm>
            <a:off x="550862" y="1359202"/>
            <a:ext cx="11031538" cy="440120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cs-CZ" sz="1800" b="1"/>
              <a:t>Proces EIA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00B050"/>
              </a:buClr>
              <a:buFont typeface="Wingdings" panose="05000000000000000000" pitchFamily="2" charset="2"/>
              <a:buChar char="§"/>
            </a:pPr>
            <a:r>
              <a:rPr lang="cs-CZ" sz="1800"/>
              <a:t>Natura 2000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cs-CZ"/>
              <a:t>Obdržení stanoviska orgánu ochrany přírody 12/2024</a:t>
            </a:r>
            <a:endParaRPr lang="cs-CZ">
              <a:cs typeface="Arial"/>
            </a:endParaRP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cs-CZ"/>
              <a:t>Příloha k oznámení záměru EIA</a:t>
            </a:r>
            <a:endParaRPr lang="cs-CZ">
              <a:cs typeface="Arial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B050"/>
              </a:buClr>
            </a:pPr>
            <a:endParaRPr lang="cs-CZ" sz="1100" b="1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00B050"/>
              </a:buClr>
              <a:buFont typeface="Wingdings" panose="05000000000000000000" pitchFamily="2" charset="2"/>
              <a:buChar char="§"/>
            </a:pPr>
            <a:r>
              <a:rPr lang="cs-CZ" sz="1800"/>
              <a:t>Oznámení EIA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cs-CZ"/>
              <a:t>Zveřejnění oznámení záměru EIA 05/2025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cs-CZ">
                <a:cs typeface="Arial"/>
              </a:rPr>
              <a:t>Vydání závěru zjišťovacího řízení očekáváme do 12/2025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>
                <a:srgbClr val="00B050"/>
              </a:buClr>
            </a:pPr>
            <a:endParaRPr lang="cs-CZ" sz="1050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00B050"/>
              </a:buClr>
              <a:buFont typeface="Wingdings" panose="05000000000000000000" pitchFamily="2" charset="2"/>
              <a:buChar char="§"/>
            </a:pPr>
            <a:r>
              <a:rPr lang="cs-CZ"/>
              <a:t>V roce 2026 zahájení prací na zpracování dokumentace EIA</a:t>
            </a:r>
            <a:endParaRPr lang="cs-CZ" sz="180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cs-CZ" sz="2000" b="1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cs-CZ" b="1"/>
              <a:t>Povolení k umístění JZ</a:t>
            </a:r>
            <a:endParaRPr lang="cs-CZ" sz="1800" b="1">
              <a:cs typeface="Arial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00B050"/>
              </a:buClr>
              <a:buFont typeface="Wingdings" panose="05000000000000000000" pitchFamily="2" charset="2"/>
              <a:buChar char="§"/>
            </a:pPr>
            <a:r>
              <a:rPr lang="cs-CZ"/>
              <a:t>V roce 2026 zahájení prací na zpracování dokumentace pro povolení k umístění JZ</a:t>
            </a:r>
            <a:endParaRPr lang="cs-CZ" sz="18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639671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>
            <a:extLst>
              <a:ext uri="{FF2B5EF4-FFF2-40B4-BE49-F238E27FC236}">
                <a16:creationId xmlns:a16="http://schemas.microsoft.com/office/drawing/2014/main" id="{BE705D2E-90EB-0953-81DB-185D00823F68}"/>
              </a:ext>
            </a:extLst>
          </p:cNvPr>
          <p:cNvSpPr txBox="1"/>
          <p:nvPr/>
        </p:nvSpPr>
        <p:spPr>
          <a:xfrm>
            <a:off x="4832670" y="5419843"/>
            <a:ext cx="4632300" cy="127727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spcBef>
                <a:spcPts val="600"/>
              </a:spcBef>
              <a:buClr>
                <a:srgbClr val="00C752"/>
              </a:buClr>
              <a:buFont typeface="Wingdings" pitchFamily="2" charset="2"/>
              <a:buChar char="§"/>
            </a:pPr>
            <a:r>
              <a:rPr lang="cs-CZ" sz="1600">
                <a:latin typeface="Arial"/>
                <a:cs typeface="Arial"/>
              </a:rPr>
              <a:t>Pro největší komponenty silniční doprava</a:t>
            </a:r>
          </a:p>
          <a:p>
            <a:pPr marL="285750" indent="-285750">
              <a:spcBef>
                <a:spcPts val="600"/>
              </a:spcBef>
              <a:buClr>
                <a:srgbClr val="00C752"/>
              </a:buClr>
              <a:buFont typeface="Wingdings" pitchFamily="2" charset="2"/>
              <a:buChar char="§"/>
            </a:pPr>
            <a:r>
              <a:rPr lang="cs-CZ" sz="1600">
                <a:latin typeface="Arial"/>
                <a:cs typeface="Arial"/>
              </a:rPr>
              <a:t>Většina dalších komponent po železnici v kombinaci s vodní dopravou </a:t>
            </a:r>
          </a:p>
          <a:p>
            <a:pPr>
              <a:spcBef>
                <a:spcPts val="1200"/>
              </a:spcBef>
              <a:buClr>
                <a:srgbClr val="00C752"/>
              </a:buClr>
            </a:pPr>
            <a:r>
              <a:rPr lang="cs-CZ" sz="1400"/>
              <a:t>Stav – </a:t>
            </a:r>
            <a:r>
              <a:rPr lang="cs-CZ" sz="1400">
                <a:solidFill>
                  <a:srgbClr val="FF0000"/>
                </a:solidFill>
              </a:rPr>
              <a:t>špatný</a:t>
            </a:r>
            <a:r>
              <a:rPr lang="cs-CZ" sz="1400">
                <a:solidFill>
                  <a:schemeClr val="tx1"/>
                </a:solidFill>
              </a:rPr>
              <a:t>, </a:t>
            </a:r>
            <a:r>
              <a:rPr lang="cs-CZ" sz="1400">
                <a:solidFill>
                  <a:srgbClr val="FFC000"/>
                </a:solidFill>
              </a:rPr>
              <a:t>opatření</a:t>
            </a:r>
            <a:r>
              <a:rPr lang="cs-CZ" sz="1400">
                <a:solidFill>
                  <a:schemeClr val="tx1"/>
                </a:solidFill>
              </a:rPr>
              <a:t>, </a:t>
            </a:r>
            <a:r>
              <a:rPr lang="cs-CZ" sz="1400">
                <a:solidFill>
                  <a:srgbClr val="00B050"/>
                </a:solidFill>
              </a:rPr>
              <a:t>dobrý</a:t>
            </a:r>
            <a:endParaRPr lang="cs-CZ" sz="1400">
              <a:solidFill>
                <a:srgbClr val="FF0000"/>
              </a:solidFill>
            </a:endParaRP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ED837B86-BD6E-A468-6CA6-7FF6FB6BCB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9246" y="4737960"/>
            <a:ext cx="2882351" cy="16361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</p:pic>
      <p:sp>
        <p:nvSpPr>
          <p:cNvPr id="22" name="TextovéPole 21">
            <a:extLst>
              <a:ext uri="{FF2B5EF4-FFF2-40B4-BE49-F238E27FC236}">
                <a16:creationId xmlns:a16="http://schemas.microsoft.com/office/drawing/2014/main" id="{F2097243-7605-070D-9CF3-0469DCE28551}"/>
              </a:ext>
            </a:extLst>
          </p:cNvPr>
          <p:cNvSpPr txBox="1"/>
          <p:nvPr/>
        </p:nvSpPr>
        <p:spPr>
          <a:xfrm>
            <a:off x="5189923" y="4214740"/>
            <a:ext cx="1958897" cy="1046440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cs-CZ" sz="1400" b="1">
                <a:solidFill>
                  <a:srgbClr val="DD6D00"/>
                </a:solidFill>
              </a:rPr>
              <a:t>Lovosice – Tušimice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cs-CZ" sz="1400">
                <a:solidFill>
                  <a:schemeClr val="tx1"/>
                </a:solidFill>
              </a:rPr>
              <a:t>19 kritických míst, 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cs-CZ" sz="1400">
                <a:solidFill>
                  <a:schemeClr val="tx1"/>
                </a:solidFill>
              </a:rPr>
              <a:t>32 mostů (</a:t>
            </a:r>
            <a:r>
              <a:rPr lang="cs-CZ" sz="1400">
                <a:solidFill>
                  <a:srgbClr val="FF0000"/>
                </a:solidFill>
              </a:rPr>
              <a:t>15</a:t>
            </a:r>
            <a:r>
              <a:rPr lang="cs-CZ" sz="1400">
                <a:solidFill>
                  <a:schemeClr val="tx1"/>
                </a:solidFill>
              </a:rPr>
              <a:t>, </a:t>
            </a:r>
            <a:r>
              <a:rPr lang="cs-CZ" sz="1400">
                <a:solidFill>
                  <a:srgbClr val="FFC000"/>
                </a:solidFill>
              </a:rPr>
              <a:t>9</a:t>
            </a:r>
            <a:r>
              <a:rPr lang="cs-CZ" sz="1400">
                <a:solidFill>
                  <a:schemeClr val="tx1"/>
                </a:solidFill>
              </a:rPr>
              <a:t>, </a:t>
            </a:r>
            <a:r>
              <a:rPr lang="cs-CZ" sz="1400">
                <a:solidFill>
                  <a:srgbClr val="00B050"/>
                </a:solidFill>
              </a:rPr>
              <a:t>8</a:t>
            </a:r>
            <a:r>
              <a:rPr lang="cs-CZ" sz="140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F75F9DE5-4BC9-3D2E-A775-6080E17FE4BC}"/>
              </a:ext>
            </a:extLst>
          </p:cNvPr>
          <p:cNvSpPr txBox="1">
            <a:spLocks/>
          </p:cNvSpPr>
          <p:nvPr/>
        </p:nvSpPr>
        <p:spPr>
          <a:xfrm>
            <a:off x="264995" y="5224612"/>
            <a:ext cx="1958897" cy="1179471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lIns="91440" tIns="45720" rIns="91440" bIns="45720" anchor="t"/>
          <a:lstStyle>
            <a:lvl1pPr marL="0" eaLnBrk="1" hangingPunct="1">
              <a:defRPr>
                <a:latin typeface="+mn-lt"/>
                <a:ea typeface="+mn-ea"/>
                <a:cs typeface="+mn-cs"/>
              </a:defRPr>
            </a:lvl1pPr>
            <a:lvl2pPr marL="457189" eaLnBrk="1" hangingPunct="1">
              <a:defRPr>
                <a:latin typeface="+mn-lt"/>
                <a:ea typeface="+mn-ea"/>
                <a:cs typeface="+mn-cs"/>
              </a:defRPr>
            </a:lvl2pPr>
            <a:lvl3pPr marL="914377" eaLnBrk="1" hangingPunct="1">
              <a:defRPr>
                <a:latin typeface="+mn-lt"/>
                <a:ea typeface="+mn-ea"/>
                <a:cs typeface="+mn-cs"/>
              </a:defRPr>
            </a:lvl3pPr>
            <a:lvl4pPr marL="1371566" eaLnBrk="1" hangingPunct="1">
              <a:defRPr>
                <a:latin typeface="+mn-lt"/>
                <a:ea typeface="+mn-ea"/>
                <a:cs typeface="+mn-cs"/>
              </a:defRPr>
            </a:lvl4pPr>
            <a:lvl5pPr marL="1828754" eaLnBrk="1" hangingPunct="1">
              <a:defRPr>
                <a:latin typeface="+mn-lt"/>
                <a:ea typeface="+mn-ea"/>
                <a:cs typeface="+mn-cs"/>
              </a:defRPr>
            </a:lvl5pPr>
            <a:lvl6pPr marL="2285943" eaLnBrk="1" hangingPunct="1">
              <a:defRPr>
                <a:latin typeface="+mn-lt"/>
                <a:ea typeface="+mn-ea"/>
                <a:cs typeface="+mn-cs"/>
              </a:defRPr>
            </a:lvl6pPr>
            <a:lvl7pPr marL="2743131" eaLnBrk="1" hangingPunct="1">
              <a:defRPr>
                <a:latin typeface="+mn-lt"/>
                <a:ea typeface="+mn-ea"/>
                <a:cs typeface="+mn-cs"/>
              </a:defRPr>
            </a:lvl7pPr>
            <a:lvl8pPr marL="3200320" eaLnBrk="1" hangingPunct="1">
              <a:defRPr>
                <a:latin typeface="+mn-lt"/>
                <a:ea typeface="+mn-ea"/>
                <a:cs typeface="+mn-cs"/>
              </a:defRPr>
            </a:lvl8pPr>
            <a:lvl9pPr marL="3657509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cs-CZ" sz="1400" b="1" kern="0">
                <a:solidFill>
                  <a:srgbClr val="4800FF"/>
                </a:solidFill>
              </a:rPr>
              <a:t>Plzeň – Tušimice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cs-CZ" sz="1400" kern="0">
                <a:solidFill>
                  <a:schemeClr val="tx1"/>
                </a:solidFill>
              </a:rPr>
              <a:t>27 kritických míst, 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cs-CZ" sz="1400" kern="0">
                <a:solidFill>
                  <a:schemeClr val="tx1"/>
                </a:solidFill>
              </a:rPr>
              <a:t>39 mostů (</a:t>
            </a:r>
            <a:r>
              <a:rPr lang="cs-CZ" sz="1400" kern="0">
                <a:solidFill>
                  <a:srgbClr val="FF0000"/>
                </a:solidFill>
              </a:rPr>
              <a:t>27</a:t>
            </a:r>
            <a:r>
              <a:rPr lang="cs-CZ" sz="1400" kern="0">
                <a:solidFill>
                  <a:schemeClr val="tx1"/>
                </a:solidFill>
              </a:rPr>
              <a:t>, </a:t>
            </a:r>
            <a:r>
              <a:rPr lang="cs-CZ" sz="1400" kern="0">
                <a:solidFill>
                  <a:srgbClr val="FFC000"/>
                </a:solidFill>
              </a:rPr>
              <a:t>3</a:t>
            </a:r>
            <a:r>
              <a:rPr lang="cs-CZ" sz="1400" kern="0">
                <a:solidFill>
                  <a:schemeClr val="tx1"/>
                </a:solidFill>
              </a:rPr>
              <a:t>, </a:t>
            </a:r>
            <a:r>
              <a:rPr lang="cs-CZ" sz="1400" kern="0">
                <a:solidFill>
                  <a:srgbClr val="00B050"/>
                </a:solidFill>
              </a:rPr>
              <a:t>9</a:t>
            </a:r>
            <a:r>
              <a:rPr lang="cs-CZ" sz="1400" kern="0">
                <a:solidFill>
                  <a:schemeClr val="tx1"/>
                </a:solidFill>
              </a:rPr>
              <a:t>)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endParaRPr lang="cs-CZ" sz="1400" b="1" kern="0">
              <a:solidFill>
                <a:srgbClr val="4800FF"/>
              </a:solidFill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5AEA233-B39C-C3B2-FE1D-EC0DB1E93A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609" y="340537"/>
            <a:ext cx="10298111" cy="954107"/>
          </a:xfrm>
        </p:spPr>
        <p:txBody>
          <a:bodyPr/>
          <a:lstStyle/>
          <a:p>
            <a:r>
              <a:rPr lang="cs-CZ"/>
              <a:t>Předběžná studie dopravitelnosti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39D5411A-3233-3F65-280B-DF56D583171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47269" y="2395942"/>
            <a:ext cx="5777615" cy="268043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221DBCCA-51C2-732B-8D73-F0B9809FBD8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0774" y="1158532"/>
            <a:ext cx="6677294" cy="306110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561120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D45D8E6B-3AED-5187-724E-B4D493C52E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1175" y="1989138"/>
            <a:ext cx="8221290" cy="1439862"/>
          </a:xfrm>
        </p:spPr>
        <p:txBody>
          <a:bodyPr/>
          <a:lstStyle/>
          <a:p>
            <a:r>
              <a:rPr lang="cs-CZ"/>
              <a:t>DĚKUJI ZA POZORNOST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ACE700B-CD4F-EAD0-60C8-FC0A88A84D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1175" y="4404016"/>
            <a:ext cx="5688632" cy="1557872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1600" b="1" dirty="0">
                <a:solidFill>
                  <a:schemeClr val="tx1"/>
                </a:solidFill>
                <a:cs typeface="Arial" panose="020B0604020202020204" pitchFamily="34" charset="0"/>
              </a:rPr>
              <a:t>Ing. Jan Kačmár </a:t>
            </a:r>
          </a:p>
          <a:p>
            <a:pPr>
              <a:spcBef>
                <a:spcPts val="600"/>
              </a:spcBef>
            </a:pPr>
            <a:r>
              <a:rPr lang="cs-CZ" sz="1600" dirty="0">
                <a:solidFill>
                  <a:schemeClr val="tx1"/>
                </a:solidFill>
                <a:cs typeface="Arial" panose="020B0604020202020204" pitchFamily="34" charset="0"/>
              </a:rPr>
              <a:t>manažer projektu SMR ETU, </a:t>
            </a:r>
            <a:r>
              <a:rPr lang="cs-CZ" sz="1600" dirty="0">
                <a:cs typeface="Arial" panose="020B0604020202020204" pitchFamily="34" charset="0"/>
              </a:rPr>
              <a:t>divize nová energetika</a:t>
            </a:r>
          </a:p>
          <a:p>
            <a:pPr>
              <a:spcBef>
                <a:spcPts val="600"/>
              </a:spcBef>
            </a:pPr>
            <a:r>
              <a:rPr lang="cs-CZ" sz="1600" dirty="0">
                <a:cs typeface="Arial" panose="020B0604020202020204" pitchFamily="34" charset="0"/>
              </a:rPr>
              <a:t>ČEZ, a. s.</a:t>
            </a:r>
          </a:p>
          <a:p>
            <a:pPr>
              <a:spcBef>
                <a:spcPts val="600"/>
              </a:spcBef>
            </a:pPr>
            <a:r>
              <a:rPr lang="cs-CZ" sz="1600" u="sng" dirty="0">
                <a:cs typeface="Arial" panose="020B0604020202020204" pitchFamily="34" charset="0"/>
              </a:rPr>
              <a:t>smr</a:t>
            </a:r>
            <a:r>
              <a:rPr lang="en-US" sz="1600" u="sng" dirty="0">
                <a:cs typeface="Arial" panose="020B0604020202020204" pitchFamily="34" charset="0"/>
              </a:rPr>
              <a:t>@</a:t>
            </a:r>
            <a:r>
              <a:rPr lang="cs-CZ" sz="1600" u="sng" dirty="0">
                <a:cs typeface="Arial" panose="020B0604020202020204" pitchFamily="34" charset="0"/>
              </a:rPr>
              <a:t>cez.cz</a:t>
            </a:r>
          </a:p>
          <a:p>
            <a:pPr>
              <a:spcBef>
                <a:spcPts val="600"/>
              </a:spcBef>
            </a:pPr>
            <a:endParaRPr lang="cs-CZ" b="1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3485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D2814D-B73F-FD44-9A82-065C8DA31E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>
                <a:solidFill>
                  <a:srgbClr val="363738"/>
                </a:solidFill>
              </a:rPr>
              <a:t>Obsah</a:t>
            </a:r>
            <a:endParaRPr lang="cs-CZ" sz="2400">
              <a:solidFill>
                <a:srgbClr val="363738"/>
              </a:solidFill>
            </a:endParaRPr>
          </a:p>
        </p:txBody>
      </p:sp>
      <p:sp>
        <p:nvSpPr>
          <p:cNvPr id="2" name="Oval 33">
            <a:extLst>
              <a:ext uri="{FF2B5EF4-FFF2-40B4-BE49-F238E27FC236}">
                <a16:creationId xmlns:a16="http://schemas.microsoft.com/office/drawing/2014/main" id="{E1F3DAD7-0708-6F80-3C3F-9C3AED8144B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0862" y="1769933"/>
            <a:ext cx="360561" cy="360238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7D300CB-9386-AEDB-3BE5-5947B5D1B829}"/>
              </a:ext>
            </a:extLst>
          </p:cNvPr>
          <p:cNvSpPr txBox="1"/>
          <p:nvPr/>
        </p:nvSpPr>
        <p:spPr>
          <a:xfrm>
            <a:off x="1013730" y="1760839"/>
            <a:ext cx="10555545" cy="3693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dirty="0"/>
              <a:t>Cíle programu SMR ČEZ                                                                                         </a:t>
            </a:r>
          </a:p>
        </p:txBody>
      </p: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C41E4A4D-8627-DA72-5FDB-C48C8280AC72}"/>
              </a:ext>
            </a:extLst>
          </p:cNvPr>
          <p:cNvCxnSpPr/>
          <p:nvPr/>
        </p:nvCxnSpPr>
        <p:spPr>
          <a:xfrm>
            <a:off x="479376" y="2348880"/>
            <a:ext cx="1108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33">
            <a:extLst>
              <a:ext uri="{FF2B5EF4-FFF2-40B4-BE49-F238E27FC236}">
                <a16:creationId xmlns:a16="http://schemas.microsoft.com/office/drawing/2014/main" id="{2C1A5C39-35F5-8E84-949C-8FC39E7F355F}"/>
              </a:ext>
            </a:extLst>
          </p:cNvPr>
          <p:cNvSpPr/>
          <p:nvPr/>
        </p:nvSpPr>
        <p:spPr>
          <a:xfrm>
            <a:off x="550862" y="2588877"/>
            <a:ext cx="360560" cy="366210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6748082-D2E1-4A6D-9290-4F03CF0F2617}"/>
              </a:ext>
            </a:extLst>
          </p:cNvPr>
          <p:cNvSpPr txBox="1"/>
          <p:nvPr/>
        </p:nvSpPr>
        <p:spPr>
          <a:xfrm>
            <a:off x="983432" y="2588877"/>
            <a:ext cx="813690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dirty="0"/>
              <a:t>SMR včetně technologického partnera</a:t>
            </a:r>
          </a:p>
        </p:txBody>
      </p:sp>
      <p:cxnSp>
        <p:nvCxnSpPr>
          <p:cNvPr id="15" name="Přímá spojnice 14">
            <a:extLst>
              <a:ext uri="{FF2B5EF4-FFF2-40B4-BE49-F238E27FC236}">
                <a16:creationId xmlns:a16="http://schemas.microsoft.com/office/drawing/2014/main" id="{0A740AAA-656C-04D8-C53E-20DAD65D5E59}"/>
              </a:ext>
            </a:extLst>
          </p:cNvPr>
          <p:cNvCxnSpPr/>
          <p:nvPr/>
        </p:nvCxnSpPr>
        <p:spPr>
          <a:xfrm>
            <a:off x="479376" y="3212976"/>
            <a:ext cx="1108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33">
            <a:extLst>
              <a:ext uri="{FF2B5EF4-FFF2-40B4-BE49-F238E27FC236}">
                <a16:creationId xmlns:a16="http://schemas.microsoft.com/office/drawing/2014/main" id="{4C8B54B0-6DF3-A8C0-B15F-A376D80DD3A5}"/>
              </a:ext>
            </a:extLst>
          </p:cNvPr>
          <p:cNvSpPr/>
          <p:nvPr/>
        </p:nvSpPr>
        <p:spPr>
          <a:xfrm>
            <a:off x="550862" y="3458682"/>
            <a:ext cx="360560" cy="369326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876518D8-FD10-4E42-2738-04AC9A84956B}"/>
              </a:ext>
            </a:extLst>
          </p:cNvPr>
          <p:cNvSpPr txBox="1"/>
          <p:nvPr/>
        </p:nvSpPr>
        <p:spPr>
          <a:xfrm>
            <a:off x="983432" y="3458682"/>
            <a:ext cx="6696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/>
              <a:t>Lokalita Tušimice</a:t>
            </a: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8353DDB9-119F-FCBF-B600-F6D0D134F14E}"/>
              </a:ext>
            </a:extLst>
          </p:cNvPr>
          <p:cNvCxnSpPr/>
          <p:nvPr/>
        </p:nvCxnSpPr>
        <p:spPr>
          <a:xfrm>
            <a:off x="479376" y="4077072"/>
            <a:ext cx="1108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77611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82EED2-6499-4D23-90B5-6C99C32C29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282EED2-6499-4D23-90B5-6C99C32C29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85BF9E6-AE98-450C-BDD1-524E33C6C7B5}"/>
              </a:ext>
            </a:extLst>
          </p:cNvPr>
          <p:cNvSpPr txBox="1">
            <a:spLocks/>
          </p:cNvSpPr>
          <p:nvPr/>
        </p:nvSpPr>
        <p:spPr>
          <a:xfrm>
            <a:off x="335360" y="332656"/>
            <a:ext cx="9308306" cy="9541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0" i="0" u="none" strike="noStrike" kern="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ovéPole 6">
            <a:extLst>
              <a:ext uri="{FF2B5EF4-FFF2-40B4-BE49-F238E27FC236}">
                <a16:creationId xmlns:a16="http://schemas.microsoft.com/office/drawing/2014/main" id="{FBF7A155-6892-4717-6A87-841DA5700158}"/>
              </a:ext>
            </a:extLst>
          </p:cNvPr>
          <p:cNvSpPr txBox="1"/>
          <p:nvPr/>
        </p:nvSpPr>
        <p:spPr>
          <a:xfrm>
            <a:off x="606940" y="1494875"/>
            <a:ext cx="10978119" cy="380873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Cíle Programu SMR v ČR: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ybudovat 2 SMR, první v lokalitě ETE a druhý v nejaderné lokalitě Tušimice v průběhu 30. let. </a:t>
            </a:r>
            <a:endParaRPr lang="cs-CZ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ybudovat 3 000 MWe v SMR v ČR do roku 2050.</a:t>
            </a:r>
            <a:endParaRPr lang="cs-CZ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Tx/>
              <a:buNone/>
              <a:tabLst/>
              <a:defRPr/>
            </a:pPr>
            <a:endParaRPr kumimoji="0" lang="cs-CZ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Tx/>
              <a:buNone/>
              <a:tabLst/>
              <a:defRPr/>
            </a:pPr>
            <a:endParaRPr kumimoji="0" lang="cs-CZ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 Cíle Programu SMR v oblasti globální příležitosti:</a:t>
            </a:r>
            <a:endParaRPr kumimoji="0" lang="cs-CZ" b="1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ybrat konkurenceschopnou a v čase dostupnou technologii SMR. </a:t>
            </a:r>
            <a:endParaRPr lang="cs-CZ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yjednat strategickou globální obchodní spolupráci s technologickým partnerem za nejlepších možných podmínek.</a:t>
            </a:r>
            <a:endParaRPr lang="cs-CZ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pojit dodavatelský řetězec SKČ/ČR do globálního pokrytí.</a:t>
            </a:r>
            <a:endParaRPr lang="cs-CZ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591EC784-5413-FBF4-25CF-4D9E53F372DD}"/>
              </a:ext>
            </a:extLst>
          </p:cNvPr>
          <p:cNvSpPr txBox="1">
            <a:spLocks/>
          </p:cNvSpPr>
          <p:nvPr/>
        </p:nvSpPr>
        <p:spPr>
          <a:xfrm>
            <a:off x="505142" y="363560"/>
            <a:ext cx="10334851" cy="9541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377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566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754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943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131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32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50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lavní cíle programu SMR ČEZ</a:t>
            </a:r>
          </a:p>
        </p:txBody>
      </p:sp>
    </p:spTree>
    <p:extLst>
      <p:ext uri="{BB962C8B-B14F-4D97-AF65-F5344CB8AC3E}">
        <p14:creationId xmlns:p14="http://schemas.microsoft.com/office/powerpoint/2010/main" val="2040195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AFADE0-AA20-65B9-CEDF-A789C3707F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6">
            <a:extLst>
              <a:ext uri="{FF2B5EF4-FFF2-40B4-BE49-F238E27FC236}">
                <a16:creationId xmlns:a16="http://schemas.microsoft.com/office/drawing/2014/main" id="{F9AF0222-DE88-4ADD-9E01-D2D109AF5968}"/>
              </a:ext>
            </a:extLst>
          </p:cNvPr>
          <p:cNvSpPr txBox="1"/>
          <p:nvPr/>
        </p:nvSpPr>
        <p:spPr>
          <a:xfrm>
            <a:off x="662464" y="2036702"/>
            <a:ext cx="5349300" cy="3131627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  <a:defRPr/>
            </a:pPr>
            <a:r>
              <a:rPr lang="cs-CZ" sz="1600" b="1" dirty="0">
                <a:cs typeface="Arial"/>
              </a:rPr>
              <a:t>Potenciál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363738"/>
                </a:solidFill>
              </a:rPr>
              <a:t>Zapojení regionálního a celostátního průmyslu</a:t>
            </a:r>
            <a:endParaRPr lang="cs-CZ" sz="1600" dirty="0">
              <a:solidFill>
                <a:srgbClr val="363738"/>
              </a:solidFill>
              <a:cs typeface="Arial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363738"/>
                </a:solidFill>
                <a:latin typeface="Arial"/>
              </a:rPr>
              <a:t>Socioekonomický rozvoj kraje a obcí</a:t>
            </a:r>
            <a:endParaRPr lang="cs-CZ" sz="1600" dirty="0">
              <a:solidFill>
                <a:srgbClr val="363738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363738"/>
                </a:solidFill>
                <a:latin typeface="Arial"/>
              </a:rPr>
              <a:t>Využití personálu ze stávajících elektráren a vytvoření nových pracovních míst </a:t>
            </a:r>
            <a:endParaRPr lang="cs-CZ" sz="1600" dirty="0">
              <a:solidFill>
                <a:srgbClr val="363738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363738"/>
                </a:solidFill>
                <a:latin typeface="Arial"/>
              </a:rPr>
              <a:t>Využití stávajících brownfieldů pro výstavbu SMR</a:t>
            </a:r>
            <a:endParaRPr lang="cs-CZ" sz="1600" dirty="0">
              <a:solidFill>
                <a:srgbClr val="363738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363738"/>
                </a:solidFill>
                <a:latin typeface="Arial"/>
              </a:rPr>
              <a:t>Zvýšení celkové prestiže regionu</a:t>
            </a:r>
            <a:endParaRPr lang="cs-CZ" sz="1600" dirty="0">
              <a:solidFill>
                <a:srgbClr val="363738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363738"/>
                </a:solidFill>
                <a:latin typeface="Arial"/>
              </a:rPr>
              <a:t>Zajištění centrálních dodávek tepelné energie</a:t>
            </a:r>
            <a:endParaRPr lang="cs-CZ" sz="1600" dirty="0">
              <a:solidFill>
                <a:srgbClr val="363738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363738"/>
                </a:solidFill>
                <a:latin typeface="Arial"/>
              </a:rPr>
              <a:t>Příliv nových investic do kraje a obcí</a:t>
            </a:r>
            <a:endParaRPr lang="cs-CZ" sz="1600" dirty="0">
              <a:solidFill>
                <a:srgbClr val="363738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363738"/>
                </a:solidFill>
                <a:latin typeface="Arial"/>
              </a:rPr>
              <a:t>Možnost výstavby podpůrných provozů v kraji</a:t>
            </a:r>
            <a:endParaRPr lang="cs-CZ" sz="1600" dirty="0">
              <a:solidFill>
                <a:srgbClr val="363738"/>
              </a:solidFill>
              <a:latin typeface="Arial"/>
              <a:cs typeface="Arial"/>
            </a:endParaRPr>
          </a:p>
        </p:txBody>
      </p:sp>
      <p:sp>
        <p:nvSpPr>
          <p:cNvPr id="2" name="TextovéPole 6">
            <a:extLst>
              <a:ext uri="{FF2B5EF4-FFF2-40B4-BE49-F238E27FC236}">
                <a16:creationId xmlns:a16="http://schemas.microsoft.com/office/drawing/2014/main" id="{6BD62863-53BC-B0D2-AA0A-4710A67E683E}"/>
              </a:ext>
            </a:extLst>
          </p:cNvPr>
          <p:cNvSpPr txBox="1"/>
          <p:nvPr/>
        </p:nvSpPr>
        <p:spPr>
          <a:xfrm>
            <a:off x="6284029" y="2032865"/>
            <a:ext cx="5256550" cy="2085186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  <a:defRPr/>
            </a:pPr>
            <a:r>
              <a:rPr lang="cs-CZ" sz="1600" b="1" dirty="0">
                <a:cs typeface="Arial"/>
              </a:rPr>
              <a:t>Podmínky proveditelnosti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363738"/>
                </a:solidFill>
                <a:latin typeface="Arial"/>
              </a:rPr>
              <a:t>Financování</a:t>
            </a:r>
            <a:endParaRPr lang="cs-CZ" sz="1600" dirty="0">
              <a:solidFill>
                <a:srgbClr val="363738"/>
              </a:solidFill>
              <a:latin typeface="Arial"/>
              <a:cs typeface="Arial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363738"/>
                </a:solidFill>
                <a:latin typeface="Arial"/>
              </a:rPr>
              <a:t>Dostatek kvalifikovaných profesionálů pro odvětví SMR</a:t>
            </a:r>
            <a:endParaRPr lang="cs-CZ" sz="1600" dirty="0">
              <a:solidFill>
                <a:srgbClr val="363738"/>
              </a:solidFill>
              <a:latin typeface="Arial"/>
              <a:cs typeface="Arial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363738"/>
                </a:solidFill>
                <a:latin typeface="Arial"/>
              </a:rPr>
              <a:t>Povědomí a podpora jaderné energetiky ze strany široké veřejnosti</a:t>
            </a:r>
            <a:endParaRPr lang="cs-CZ" sz="1600" dirty="0">
              <a:solidFill>
                <a:srgbClr val="363738"/>
              </a:solidFill>
              <a:latin typeface="Arial"/>
              <a:cs typeface="Arial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00C271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363738"/>
                </a:solidFill>
                <a:latin typeface="Arial"/>
                <a:cs typeface="Arial"/>
              </a:rPr>
              <a:t>Podpora ze strany státu</a:t>
            </a:r>
          </a:p>
        </p:txBody>
      </p:sp>
      <p:sp>
        <p:nvSpPr>
          <p:cNvPr id="7" name="Nadpis 3">
            <a:extLst>
              <a:ext uri="{FF2B5EF4-FFF2-40B4-BE49-F238E27FC236}">
                <a16:creationId xmlns:a16="http://schemas.microsoft.com/office/drawing/2014/main" id="{A80E1E52-5230-685D-9E8A-8B0D2B3B3F6B}"/>
              </a:ext>
            </a:extLst>
          </p:cNvPr>
          <p:cNvSpPr txBox="1">
            <a:spLocks/>
          </p:cNvSpPr>
          <p:nvPr/>
        </p:nvSpPr>
        <p:spPr>
          <a:xfrm>
            <a:off x="662464" y="484143"/>
            <a:ext cx="10991471" cy="43589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cs-CZ" sz="2800" cap="none" dirty="0">
                <a:solidFill>
                  <a:schemeClr val="tx1"/>
                </a:solidFill>
                <a:latin typeface="Arial"/>
                <a:ea typeface="+mn-ea"/>
                <a:cs typeface="Arial"/>
              </a:rPr>
              <a:t>Program SMR</a:t>
            </a:r>
          </a:p>
        </p:txBody>
      </p:sp>
      <p:pic>
        <p:nvPicPr>
          <p:cNvPr id="3" name="Obrázek 2" descr="Obsah obrázku symbol, Grafika, logo, diagram&#10;&#10;Popis byl vytvořen automaticky">
            <a:extLst>
              <a:ext uri="{FF2B5EF4-FFF2-40B4-BE49-F238E27FC236}">
                <a16:creationId xmlns:a16="http://schemas.microsoft.com/office/drawing/2014/main" id="{ACDBEC5A-F166-0E07-F308-0DA21FC0B2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7108" y="4206156"/>
            <a:ext cx="1344562" cy="1289345"/>
          </a:xfrm>
          <a:prstGeom prst="rect">
            <a:avLst/>
          </a:prstGeom>
          <a:noFill/>
        </p:spPr>
      </p:pic>
      <p:pic>
        <p:nvPicPr>
          <p:cNvPr id="6" name="Obrázek 5" descr="Obsah obrázku klipart, kresba, skica, design&#10;&#10;Popis byl vytvořen automaticky">
            <a:extLst>
              <a:ext uri="{FF2B5EF4-FFF2-40B4-BE49-F238E27FC236}">
                <a16:creationId xmlns:a16="http://schemas.microsoft.com/office/drawing/2014/main" id="{4EAD311A-3283-275F-6405-F92E4513DA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9202" y="4205207"/>
            <a:ext cx="1290294" cy="1290294"/>
          </a:xfrm>
          <a:prstGeom prst="rect">
            <a:avLst/>
          </a:prstGeom>
          <a:noFill/>
        </p:spPr>
      </p:pic>
      <p:sp>
        <p:nvSpPr>
          <p:cNvPr id="8" name="TextovéPole 5">
            <a:extLst>
              <a:ext uri="{FF2B5EF4-FFF2-40B4-BE49-F238E27FC236}">
                <a16:creationId xmlns:a16="http://schemas.microsoft.com/office/drawing/2014/main" id="{721988CF-0B97-A7D3-C3B4-7FC3F538BE42}"/>
              </a:ext>
            </a:extLst>
          </p:cNvPr>
          <p:cNvSpPr txBox="1"/>
          <p:nvPr/>
        </p:nvSpPr>
        <p:spPr>
          <a:xfrm>
            <a:off x="653912" y="1225434"/>
            <a:ext cx="10887352" cy="679462"/>
          </a:xfrm>
          <a:prstGeom prst="rect">
            <a:avLst/>
          </a:prstGeom>
          <a:solidFill>
            <a:srgbClr val="C2FEDA"/>
          </a:solidFill>
          <a:ln w="19050">
            <a:solidFill>
              <a:schemeClr val="accent1"/>
            </a:solidFill>
          </a:ln>
        </p:spPr>
        <p:txBody>
          <a:bodyPr wrap="square" lIns="91440" tIns="45720" rIns="91440" bIns="45720" rtlCol="0" anchor="ctr">
            <a:noAutofit/>
          </a:bodyPr>
          <a:lstStyle/>
          <a:p>
            <a:pPr algn="ctr"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lavním cílem programu SMR je příprava a implementace </a:t>
            </a:r>
            <a:r>
              <a:rPr lang="cs-CZ" sz="1600" b="1" dirty="0">
                <a:solidFill>
                  <a:srgbClr val="363738"/>
                </a:solidFill>
                <a:latin typeface="Arial"/>
              </a:rPr>
              <a:t>programu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MR s instalovanou kapacitou </a:t>
            </a:r>
            <a:endParaRPr lang="cs-CZ" sz="1600" b="1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,000 MWe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 roku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50.</a:t>
            </a:r>
            <a:endParaRPr lang="en-US" sz="1600" b="1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C2E4E585-E934-E897-1DE3-955527DDCA2F}"/>
              </a:ext>
            </a:extLst>
          </p:cNvPr>
          <p:cNvSpPr txBox="1"/>
          <p:nvPr/>
        </p:nvSpPr>
        <p:spPr>
          <a:xfrm>
            <a:off x="653913" y="5670725"/>
            <a:ext cx="10887350" cy="58477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cs-CZ" sz="1600" b="1" dirty="0">
                <a:solidFill>
                  <a:srgbClr val="0E101A"/>
                </a:solidFill>
                <a:effectLst/>
              </a:rPr>
              <a:t>Program SMR představuje významnou příležitost pro rozvoj jaderného sektoru v České republice. Má potenciál výrazně přispět k hospodářskému rozvoji země</a:t>
            </a:r>
            <a:r>
              <a:rPr lang="cs-CZ" sz="1600" b="1" dirty="0">
                <a:solidFill>
                  <a:srgbClr val="0E101A"/>
                </a:solidFill>
              </a:rPr>
              <a:t> </a:t>
            </a:r>
            <a:r>
              <a:rPr lang="cs-CZ" sz="1600" b="1" dirty="0">
                <a:solidFill>
                  <a:srgbClr val="0E101A"/>
                </a:solidFill>
                <a:effectLst/>
              </a:rPr>
              <a:t>s vysokou přidanou hodnotou</a:t>
            </a:r>
            <a:r>
              <a:rPr lang="en-US" sz="1600" b="1" noProof="0" dirty="0">
                <a:solidFill>
                  <a:srgbClr val="0E101A"/>
                </a:solidFill>
                <a:effectLst/>
              </a:rPr>
              <a:t>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4513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D2814D-B73F-FD44-9A82-065C8DA31E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>
                <a:solidFill>
                  <a:srgbClr val="363738"/>
                </a:solidFill>
              </a:rPr>
              <a:t>Obsah</a:t>
            </a:r>
            <a:endParaRPr lang="cs-CZ" sz="2400">
              <a:solidFill>
                <a:srgbClr val="363738"/>
              </a:solidFill>
            </a:endParaRPr>
          </a:p>
        </p:txBody>
      </p:sp>
      <p:sp>
        <p:nvSpPr>
          <p:cNvPr id="2" name="Oval 33">
            <a:extLst>
              <a:ext uri="{FF2B5EF4-FFF2-40B4-BE49-F238E27FC236}">
                <a16:creationId xmlns:a16="http://schemas.microsoft.com/office/drawing/2014/main" id="{E1F3DAD7-0708-6F80-3C3F-9C3AED8144B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0862" y="1769933"/>
            <a:ext cx="360561" cy="360238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7D300CB-9386-AEDB-3BE5-5947B5D1B829}"/>
              </a:ext>
            </a:extLst>
          </p:cNvPr>
          <p:cNvSpPr txBox="1"/>
          <p:nvPr/>
        </p:nvSpPr>
        <p:spPr>
          <a:xfrm>
            <a:off x="1013730" y="1760839"/>
            <a:ext cx="105555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Cíle programu SMR ČEZ</a:t>
            </a:r>
          </a:p>
        </p:txBody>
      </p: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C41E4A4D-8627-DA72-5FDB-C48C8280AC72}"/>
              </a:ext>
            </a:extLst>
          </p:cNvPr>
          <p:cNvCxnSpPr/>
          <p:nvPr/>
        </p:nvCxnSpPr>
        <p:spPr>
          <a:xfrm>
            <a:off x="479376" y="2348880"/>
            <a:ext cx="1108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33">
            <a:extLst>
              <a:ext uri="{FF2B5EF4-FFF2-40B4-BE49-F238E27FC236}">
                <a16:creationId xmlns:a16="http://schemas.microsoft.com/office/drawing/2014/main" id="{2C1A5C39-35F5-8E84-949C-8FC39E7F355F}"/>
              </a:ext>
            </a:extLst>
          </p:cNvPr>
          <p:cNvSpPr/>
          <p:nvPr/>
        </p:nvSpPr>
        <p:spPr>
          <a:xfrm>
            <a:off x="550862" y="2588877"/>
            <a:ext cx="360560" cy="366210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6748082-D2E1-4A6D-9290-4F03CF0F2617}"/>
              </a:ext>
            </a:extLst>
          </p:cNvPr>
          <p:cNvSpPr txBox="1"/>
          <p:nvPr/>
        </p:nvSpPr>
        <p:spPr>
          <a:xfrm>
            <a:off x="983431" y="2588877"/>
            <a:ext cx="10585843" cy="3693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dirty="0"/>
              <a:t>SMR včetně technologického partnera</a:t>
            </a:r>
          </a:p>
        </p:txBody>
      </p:sp>
      <p:cxnSp>
        <p:nvCxnSpPr>
          <p:cNvPr id="15" name="Přímá spojnice 14">
            <a:extLst>
              <a:ext uri="{FF2B5EF4-FFF2-40B4-BE49-F238E27FC236}">
                <a16:creationId xmlns:a16="http://schemas.microsoft.com/office/drawing/2014/main" id="{0A740AAA-656C-04D8-C53E-20DAD65D5E59}"/>
              </a:ext>
            </a:extLst>
          </p:cNvPr>
          <p:cNvCxnSpPr/>
          <p:nvPr/>
        </p:nvCxnSpPr>
        <p:spPr>
          <a:xfrm>
            <a:off x="479376" y="3212976"/>
            <a:ext cx="1108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33">
            <a:extLst>
              <a:ext uri="{FF2B5EF4-FFF2-40B4-BE49-F238E27FC236}">
                <a16:creationId xmlns:a16="http://schemas.microsoft.com/office/drawing/2014/main" id="{4C8B54B0-6DF3-A8C0-B15F-A376D80DD3A5}"/>
              </a:ext>
            </a:extLst>
          </p:cNvPr>
          <p:cNvSpPr/>
          <p:nvPr/>
        </p:nvSpPr>
        <p:spPr>
          <a:xfrm>
            <a:off x="550862" y="3458682"/>
            <a:ext cx="360560" cy="369326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876518D8-FD10-4E42-2738-04AC9A84956B}"/>
              </a:ext>
            </a:extLst>
          </p:cNvPr>
          <p:cNvSpPr txBox="1"/>
          <p:nvPr/>
        </p:nvSpPr>
        <p:spPr>
          <a:xfrm>
            <a:off x="983432" y="3458682"/>
            <a:ext cx="6696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/>
              <a:t>Lokalita Tušimice</a:t>
            </a: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8353DDB9-119F-FCBF-B600-F6D0D134F14E}"/>
              </a:ext>
            </a:extLst>
          </p:cNvPr>
          <p:cNvCxnSpPr/>
          <p:nvPr/>
        </p:nvCxnSpPr>
        <p:spPr>
          <a:xfrm>
            <a:off x="479376" y="4077072"/>
            <a:ext cx="1108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42865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Obrázek 16">
            <a:extLst>
              <a:ext uri="{FF2B5EF4-FFF2-40B4-BE49-F238E27FC236}">
                <a16:creationId xmlns:a16="http://schemas.microsoft.com/office/drawing/2014/main" id="{05EF4E7F-11B5-9B48-8B7B-F710F1271B4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8"/>
          <a:stretch/>
        </p:blipFill>
        <p:spPr>
          <a:xfrm>
            <a:off x="5307489" y="4775166"/>
            <a:ext cx="6879378" cy="1461041"/>
          </a:xfrm>
          <a:prstGeom prst="rect">
            <a:avLst/>
          </a:prstGeom>
        </p:spPr>
      </p:pic>
      <p:sp>
        <p:nvSpPr>
          <p:cNvPr id="5" name="Zástupný symbol pro obsah 4"/>
          <p:cNvSpPr>
            <a:spLocks noGrp="1"/>
          </p:cNvSpPr>
          <p:nvPr>
            <p:ph type="body" sz="quarter" idx="11"/>
          </p:nvPr>
        </p:nvSpPr>
        <p:spPr>
          <a:xfrm>
            <a:off x="540922" y="1590035"/>
            <a:ext cx="6019403" cy="4231928"/>
          </a:xfrm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1800"/>
              </a:spcAft>
              <a:buClr>
                <a:schemeClr val="accent1">
                  <a:lumMod val="75000"/>
                </a:schemeClr>
              </a:buClr>
            </a:pPr>
            <a:r>
              <a:rPr lang="cs-CZ" sz="1800" b="1" dirty="0">
                <a:latin typeface="Arial"/>
                <a:ea typeface="Times New Roman"/>
                <a:cs typeface="Arial"/>
              </a:rPr>
              <a:t>4. 3. 2025 ČEZ získal zhruba 20 % podíl ve společnosti Rolls-Royce SMR</a:t>
            </a:r>
          </a:p>
          <a:p>
            <a:pPr>
              <a:spcAft>
                <a:spcPts val="1800"/>
              </a:spcAft>
              <a:buClr>
                <a:schemeClr val="accent1">
                  <a:lumMod val="75000"/>
                </a:schemeClr>
              </a:buClr>
            </a:pPr>
            <a:r>
              <a:rPr lang="cs-CZ" sz="1800" b="1" dirty="0">
                <a:latin typeface="Arial"/>
                <a:cs typeface="Arial"/>
              </a:rPr>
              <a:t>10. 6. 2025 byl Rolls-Royce SMR vybrán britskou společností Great British Energy – Nuclear (GBE-N) jako dodavatel SMR ve Velké Británii</a:t>
            </a:r>
          </a:p>
          <a:p>
            <a:pPr marL="285750" indent="-285750">
              <a:spcAft>
                <a:spcPts val="1200"/>
              </a:spcAft>
              <a:buClr>
                <a:srgbClr val="00B050"/>
              </a:buClr>
              <a:buFont typeface="Wingdings" panose="05000000000000000000" pitchFamily="2" charset="2"/>
              <a:buChar char="§"/>
            </a:pPr>
            <a:r>
              <a:rPr lang="cs-CZ" sz="1800" dirty="0">
                <a:latin typeface="Arial"/>
                <a:cs typeface="Arial"/>
              </a:rPr>
              <a:t>Tlakovodní reaktor s výkonem 470 MWe </a:t>
            </a:r>
          </a:p>
          <a:p>
            <a:pPr marL="285750" indent="-285750">
              <a:spcAft>
                <a:spcPts val="1200"/>
              </a:spcAft>
              <a:buClr>
                <a:srgbClr val="00B050"/>
              </a:buClr>
              <a:buFont typeface="Wingdings" panose="05000000000000000000" pitchFamily="2" charset="2"/>
              <a:buChar char="§"/>
            </a:pPr>
            <a:r>
              <a:rPr lang="cs-CZ" sz="1800" dirty="0">
                <a:latin typeface="Arial"/>
                <a:ea typeface="Times New Roman"/>
                <a:cs typeface="Arial"/>
              </a:rPr>
              <a:t>Jednoblokové uspořádání s modulární výstavbou</a:t>
            </a:r>
          </a:p>
          <a:p>
            <a:pPr marL="285750" indent="-285750">
              <a:spcAft>
                <a:spcPts val="1200"/>
              </a:spcAft>
              <a:buClr>
                <a:srgbClr val="00B050"/>
              </a:buClr>
              <a:buFont typeface="Wingdings" panose="05000000000000000000" pitchFamily="2" charset="2"/>
              <a:buChar char="§"/>
            </a:pPr>
            <a:r>
              <a:rPr lang="cs-CZ" sz="1800" dirty="0">
                <a:latin typeface="Arial"/>
                <a:ea typeface="Times New Roman"/>
                <a:cs typeface="Arial"/>
              </a:rPr>
              <a:t>Důraz na vysokou bezpečnost</a:t>
            </a:r>
          </a:p>
          <a:p>
            <a:pPr marL="285750" indent="-285750">
              <a:spcAft>
                <a:spcPts val="1200"/>
              </a:spcAft>
              <a:buClr>
                <a:srgbClr val="00B050"/>
              </a:buClr>
              <a:buFont typeface="Wingdings" panose="05000000000000000000" pitchFamily="2" charset="2"/>
              <a:buChar char="§"/>
            </a:pPr>
            <a:r>
              <a:rPr lang="cs-CZ" sz="1800" dirty="0">
                <a:latin typeface="Arial"/>
                <a:ea typeface="Times New Roman"/>
                <a:cs typeface="Arial"/>
              </a:rPr>
              <a:t>ČEZ a Rolls-Royce SMR již spolupracují na přípravě projektů v České republice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cs-CZ" sz="1400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9944100"/>
            <a:ext cx="1736725" cy="277813"/>
          </a:xfrm>
        </p:spPr>
        <p:txBody>
          <a:bodyPr/>
          <a:lstStyle/>
          <a:p>
            <a:fld id="{569EC6D3-E5AC-407E-ABD5-BD9CA53279C2}" type="slidenum">
              <a:rPr lang="cs-CZ" smtClean="0"/>
              <a:pPr/>
              <a:t>6</a:t>
            </a:fld>
            <a:endParaRPr lang="cs-CZ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64233ACC-180D-BFD4-4EC6-6C0B47052C8A}"/>
              </a:ext>
            </a:extLst>
          </p:cNvPr>
          <p:cNvSpPr txBox="1">
            <a:spLocks/>
          </p:cNvSpPr>
          <p:nvPr/>
        </p:nvSpPr>
        <p:spPr>
          <a:xfrm>
            <a:off x="540922" y="357120"/>
            <a:ext cx="10298111" cy="954107"/>
          </a:xfrm>
          <a:prstGeom prst="rect">
            <a:avLst/>
          </a:prstGeom>
          <a:noFill/>
          <a:ln>
            <a:noFill/>
          </a:ln>
          <a:effectLst/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377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566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754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943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131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32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50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kern="0" dirty="0"/>
              <a:t>Rolls-Royce SMR: projekt „UK SMR“</a:t>
            </a:r>
          </a:p>
          <a:p>
            <a:endParaRPr lang="cs-CZ" b="1" kern="0" dirty="0"/>
          </a:p>
        </p:txBody>
      </p:sp>
      <p:pic>
        <p:nvPicPr>
          <p:cNvPr id="30" name="Obrázek 29" descr="Obsah obrázku obloha, tráva, budova, rostlina&#10;&#10;Popis byl vytvořen automaticky">
            <a:extLst>
              <a:ext uri="{FF2B5EF4-FFF2-40B4-BE49-F238E27FC236}">
                <a16:creationId xmlns:a16="http://schemas.microsoft.com/office/drawing/2014/main" id="{08A42A68-BCAF-D36D-BBBE-BE9C2349C45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89" t="7009" b="8318"/>
          <a:stretch/>
        </p:blipFill>
        <p:spPr>
          <a:xfrm>
            <a:off x="6549887" y="1869353"/>
            <a:ext cx="5642113" cy="2759657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1D1FC88E-611E-D48D-4FE2-81CE31CC70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64687" y="459094"/>
            <a:ext cx="1186817" cy="750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0413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9944100"/>
            <a:ext cx="1736725" cy="277813"/>
          </a:xfrm>
        </p:spPr>
        <p:txBody>
          <a:bodyPr/>
          <a:lstStyle/>
          <a:p>
            <a:fld id="{569EC6D3-E5AC-407E-ABD5-BD9CA53279C2}" type="slidenum">
              <a:rPr lang="cs-CZ" smtClean="0"/>
              <a:pPr/>
              <a:t>7</a:t>
            </a:fld>
            <a:endParaRPr lang="cs-CZ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64233ACC-180D-BFD4-4EC6-6C0B47052C8A}"/>
              </a:ext>
            </a:extLst>
          </p:cNvPr>
          <p:cNvSpPr txBox="1">
            <a:spLocks/>
          </p:cNvSpPr>
          <p:nvPr/>
        </p:nvSpPr>
        <p:spPr>
          <a:xfrm>
            <a:off x="550862" y="357120"/>
            <a:ext cx="10298111" cy="954107"/>
          </a:xfrm>
          <a:prstGeom prst="rect">
            <a:avLst/>
          </a:prstGeom>
          <a:noFill/>
          <a:ln>
            <a:noFill/>
          </a:ln>
          <a:effectLst/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377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566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754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943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131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32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50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kern="0" dirty="0"/>
              <a:t>Rolls-Royce SMR: HVB </a:t>
            </a:r>
          </a:p>
          <a:p>
            <a:endParaRPr lang="cs-CZ" kern="0" dirty="0"/>
          </a:p>
          <a:p>
            <a:endParaRPr lang="cs-CZ" b="1" kern="0" dirty="0"/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1D1FC88E-611E-D48D-4FE2-81CE31CC70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4687" y="459094"/>
            <a:ext cx="1186817" cy="750158"/>
          </a:xfrm>
          <a:prstGeom prst="rect">
            <a:avLst/>
          </a:prstGeom>
        </p:spPr>
      </p:pic>
      <p:pic>
        <p:nvPicPr>
          <p:cNvPr id="15" name="Obrázek 14" descr="Obsah obrázku sníh, budova, skica, zima&#10;&#10;Popis byl vytvořen automaticky">
            <a:extLst>
              <a:ext uri="{FF2B5EF4-FFF2-40B4-BE49-F238E27FC236}">
                <a16:creationId xmlns:a16="http://schemas.microsoft.com/office/drawing/2014/main" id="{F45A68A5-9549-E951-84DA-58ACB45E10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75" y="1662014"/>
            <a:ext cx="10128250" cy="4216706"/>
          </a:xfrm>
          <a:prstGeom prst="rect">
            <a:avLst/>
          </a:prstGeom>
        </p:spPr>
      </p:pic>
      <p:sp>
        <p:nvSpPr>
          <p:cNvPr id="16" name="Zástupný symbol pro obsah 4">
            <a:extLst>
              <a:ext uri="{FF2B5EF4-FFF2-40B4-BE49-F238E27FC236}">
                <a16:creationId xmlns:a16="http://schemas.microsoft.com/office/drawing/2014/main" id="{B656460E-5EAD-EDF1-0418-0A8AE9F7DFE9}"/>
              </a:ext>
            </a:extLst>
          </p:cNvPr>
          <p:cNvSpPr txBox="1">
            <a:spLocks/>
          </p:cNvSpPr>
          <p:nvPr/>
        </p:nvSpPr>
        <p:spPr>
          <a:xfrm>
            <a:off x="5524059" y="5208190"/>
            <a:ext cx="1774864" cy="52322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377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566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754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943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131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32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50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cs-CZ" sz="1400" b="1" kern="0">
                <a:solidFill>
                  <a:srgbClr val="10069F"/>
                </a:solidFill>
                <a:latin typeface="Arial"/>
              </a:rPr>
              <a:t>Reaktorová budova</a:t>
            </a:r>
          </a:p>
        </p:txBody>
      </p:sp>
      <p:sp>
        <p:nvSpPr>
          <p:cNvPr id="17" name="Zástupný symbol pro obsah 4">
            <a:extLst>
              <a:ext uri="{FF2B5EF4-FFF2-40B4-BE49-F238E27FC236}">
                <a16:creationId xmlns:a16="http://schemas.microsoft.com/office/drawing/2014/main" id="{F40082DA-DD56-8A94-C49D-6F67BE4084EF}"/>
              </a:ext>
            </a:extLst>
          </p:cNvPr>
          <p:cNvSpPr txBox="1">
            <a:spLocks/>
          </p:cNvSpPr>
          <p:nvPr/>
        </p:nvSpPr>
        <p:spPr>
          <a:xfrm>
            <a:off x="6052456" y="4491543"/>
            <a:ext cx="1774864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377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566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754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943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131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32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50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cs-CZ" sz="1400" b="1" kern="0">
                <a:solidFill>
                  <a:srgbClr val="10069F"/>
                </a:solidFill>
                <a:latin typeface="Arial"/>
              </a:rPr>
              <a:t>Kontejnment</a:t>
            </a:r>
          </a:p>
        </p:txBody>
      </p:sp>
      <p:sp>
        <p:nvSpPr>
          <p:cNvPr id="19" name="Zástupný symbol pro obsah 4">
            <a:extLst>
              <a:ext uri="{FF2B5EF4-FFF2-40B4-BE49-F238E27FC236}">
                <a16:creationId xmlns:a16="http://schemas.microsoft.com/office/drawing/2014/main" id="{BC1F6D22-4E02-6E55-1865-202A5587215A}"/>
              </a:ext>
            </a:extLst>
          </p:cNvPr>
          <p:cNvSpPr txBox="1">
            <a:spLocks/>
          </p:cNvSpPr>
          <p:nvPr/>
        </p:nvSpPr>
        <p:spPr>
          <a:xfrm>
            <a:off x="8233480" y="4547192"/>
            <a:ext cx="1774864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377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566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754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943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131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32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50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cs-CZ" sz="1400" b="1" kern="0">
                <a:solidFill>
                  <a:srgbClr val="10069F"/>
                </a:solidFill>
                <a:latin typeface="Arial"/>
              </a:rPr>
              <a:t>Turbínový ostrov</a:t>
            </a:r>
          </a:p>
        </p:txBody>
      </p:sp>
      <p:sp>
        <p:nvSpPr>
          <p:cNvPr id="20" name="Zástupný symbol pro obsah 4">
            <a:extLst>
              <a:ext uri="{FF2B5EF4-FFF2-40B4-BE49-F238E27FC236}">
                <a16:creationId xmlns:a16="http://schemas.microsoft.com/office/drawing/2014/main" id="{284A64B1-A670-A9B7-7129-2612C8AC924E}"/>
              </a:ext>
            </a:extLst>
          </p:cNvPr>
          <p:cNvSpPr txBox="1">
            <a:spLocks/>
          </p:cNvSpPr>
          <p:nvPr/>
        </p:nvSpPr>
        <p:spPr>
          <a:xfrm>
            <a:off x="9924895" y="4094430"/>
            <a:ext cx="1562593" cy="52322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377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566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754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943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131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32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50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cs-CZ" sz="1400" b="1" kern="0">
                <a:solidFill>
                  <a:srgbClr val="10069F"/>
                </a:solidFill>
                <a:latin typeface="Arial"/>
              </a:rPr>
              <a:t>Vyvedení výkonu</a:t>
            </a:r>
          </a:p>
        </p:txBody>
      </p:sp>
      <p:sp>
        <p:nvSpPr>
          <p:cNvPr id="21" name="Zástupný symbol pro obsah 4">
            <a:extLst>
              <a:ext uri="{FF2B5EF4-FFF2-40B4-BE49-F238E27FC236}">
                <a16:creationId xmlns:a16="http://schemas.microsoft.com/office/drawing/2014/main" id="{4F6F8C8F-B903-1DBF-C162-E1040B695699}"/>
              </a:ext>
            </a:extLst>
          </p:cNvPr>
          <p:cNvSpPr txBox="1">
            <a:spLocks/>
          </p:cNvSpPr>
          <p:nvPr/>
        </p:nvSpPr>
        <p:spPr>
          <a:xfrm>
            <a:off x="1729187" y="2072329"/>
            <a:ext cx="972000" cy="504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377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566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754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943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131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32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50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cs-CZ" sz="1400" b="1" kern="0">
                <a:solidFill>
                  <a:srgbClr val="10069F"/>
                </a:solidFill>
                <a:latin typeface="Arial"/>
              </a:rPr>
              <a:t>Montážní hala</a:t>
            </a:r>
          </a:p>
        </p:txBody>
      </p:sp>
    </p:spTree>
    <p:extLst>
      <p:ext uri="{BB962C8B-B14F-4D97-AF65-F5344CB8AC3E}">
        <p14:creationId xmlns:p14="http://schemas.microsoft.com/office/powerpoint/2010/main" val="39185960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D2814D-B73F-FD44-9A82-065C8DA31E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>
                <a:solidFill>
                  <a:srgbClr val="363738"/>
                </a:solidFill>
              </a:rPr>
              <a:t>Obsah</a:t>
            </a:r>
            <a:endParaRPr lang="cs-CZ" sz="2400">
              <a:solidFill>
                <a:srgbClr val="363738"/>
              </a:solidFill>
            </a:endParaRPr>
          </a:p>
        </p:txBody>
      </p:sp>
      <p:sp>
        <p:nvSpPr>
          <p:cNvPr id="2" name="Oval 33">
            <a:extLst>
              <a:ext uri="{FF2B5EF4-FFF2-40B4-BE49-F238E27FC236}">
                <a16:creationId xmlns:a16="http://schemas.microsoft.com/office/drawing/2014/main" id="{E1F3DAD7-0708-6F80-3C3F-9C3AED8144B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0862" y="1769933"/>
            <a:ext cx="360561" cy="360238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7D300CB-9386-AEDB-3BE5-5947B5D1B829}"/>
              </a:ext>
            </a:extLst>
          </p:cNvPr>
          <p:cNvSpPr txBox="1"/>
          <p:nvPr/>
        </p:nvSpPr>
        <p:spPr>
          <a:xfrm>
            <a:off x="1013730" y="1760839"/>
            <a:ext cx="105555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Cíle programu SMR ČEZ</a:t>
            </a:r>
          </a:p>
        </p:txBody>
      </p: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C41E4A4D-8627-DA72-5FDB-C48C8280AC72}"/>
              </a:ext>
            </a:extLst>
          </p:cNvPr>
          <p:cNvCxnSpPr/>
          <p:nvPr/>
        </p:nvCxnSpPr>
        <p:spPr>
          <a:xfrm>
            <a:off x="479376" y="2348880"/>
            <a:ext cx="1108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33">
            <a:extLst>
              <a:ext uri="{FF2B5EF4-FFF2-40B4-BE49-F238E27FC236}">
                <a16:creationId xmlns:a16="http://schemas.microsoft.com/office/drawing/2014/main" id="{2C1A5C39-35F5-8E84-949C-8FC39E7F355F}"/>
              </a:ext>
            </a:extLst>
          </p:cNvPr>
          <p:cNvSpPr/>
          <p:nvPr/>
        </p:nvSpPr>
        <p:spPr>
          <a:xfrm>
            <a:off x="550862" y="2588877"/>
            <a:ext cx="360560" cy="366210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6748082-D2E1-4A6D-9290-4F03CF0F2617}"/>
              </a:ext>
            </a:extLst>
          </p:cNvPr>
          <p:cNvSpPr txBox="1"/>
          <p:nvPr/>
        </p:nvSpPr>
        <p:spPr>
          <a:xfrm>
            <a:off x="983431" y="2588877"/>
            <a:ext cx="10585843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dirty="0"/>
              <a:t>SMR včetně technologického partnera</a:t>
            </a:r>
          </a:p>
        </p:txBody>
      </p:sp>
      <p:cxnSp>
        <p:nvCxnSpPr>
          <p:cNvPr id="15" name="Přímá spojnice 14">
            <a:extLst>
              <a:ext uri="{FF2B5EF4-FFF2-40B4-BE49-F238E27FC236}">
                <a16:creationId xmlns:a16="http://schemas.microsoft.com/office/drawing/2014/main" id="{0A740AAA-656C-04D8-C53E-20DAD65D5E59}"/>
              </a:ext>
            </a:extLst>
          </p:cNvPr>
          <p:cNvCxnSpPr/>
          <p:nvPr/>
        </p:nvCxnSpPr>
        <p:spPr>
          <a:xfrm>
            <a:off x="479376" y="3212976"/>
            <a:ext cx="1108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33">
            <a:extLst>
              <a:ext uri="{FF2B5EF4-FFF2-40B4-BE49-F238E27FC236}">
                <a16:creationId xmlns:a16="http://schemas.microsoft.com/office/drawing/2014/main" id="{4C8B54B0-6DF3-A8C0-B15F-A376D80DD3A5}"/>
              </a:ext>
            </a:extLst>
          </p:cNvPr>
          <p:cNvSpPr/>
          <p:nvPr/>
        </p:nvSpPr>
        <p:spPr>
          <a:xfrm>
            <a:off x="550862" y="3458682"/>
            <a:ext cx="360560" cy="369326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876518D8-FD10-4E42-2738-04AC9A84956B}"/>
              </a:ext>
            </a:extLst>
          </p:cNvPr>
          <p:cNvSpPr txBox="1"/>
          <p:nvPr/>
        </p:nvSpPr>
        <p:spPr>
          <a:xfrm>
            <a:off x="983432" y="3458682"/>
            <a:ext cx="10585842" cy="3693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/>
              <a:t>Lokalita Tušimice</a:t>
            </a: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8353DDB9-119F-FCBF-B600-F6D0D134F14E}"/>
              </a:ext>
            </a:extLst>
          </p:cNvPr>
          <p:cNvCxnSpPr/>
          <p:nvPr/>
        </p:nvCxnSpPr>
        <p:spPr>
          <a:xfrm>
            <a:off x="479376" y="4077072"/>
            <a:ext cx="1108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21371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C5632A76-8A53-D182-5DBC-1313B1E326B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/>
              <a:t>Lokalita Tušimice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F0191133-A914-9924-BB50-E9EE7A76D0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2" y="1000125"/>
            <a:ext cx="5743859" cy="1638300"/>
          </a:xfrm>
        </p:spPr>
        <p:txBody>
          <a:bodyPr lIns="91440" tIns="45720" rIns="91440" bIns="45720" anchor="t"/>
          <a:lstStyle/>
          <a:p>
            <a:pPr marL="285750" indent="-285750" algn="l" rtl="0">
              <a:buClr>
                <a:srgbClr val="00C752"/>
              </a:buClr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nědouhelná elektrárna ETU II  (</a:t>
            </a:r>
            <a:r>
              <a:rPr lang="cs-CZ" sz="1800" kern="1200" dirty="0">
                <a:solidFill>
                  <a:srgbClr val="363738"/>
                </a:solidFill>
                <a:latin typeface="Arial"/>
              </a:rPr>
              <a:t>4x200 MW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lvl="1" algn="l" rtl="0">
              <a:buClr>
                <a:srgbClr val="00C752"/>
              </a:buClr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ocha 92 ha</a:t>
            </a:r>
            <a:endParaRPr lang="cs-CZ" sz="1800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457200" lvl="1" indent="0" algn="l" rtl="0">
              <a:buClr>
                <a:srgbClr val="00C752"/>
              </a:buClr>
              <a:buNone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 algn="l" rtl="0">
              <a:buClr>
                <a:srgbClr val="00C752"/>
              </a:buClr>
              <a:defRPr/>
            </a:pPr>
            <a:r>
              <a:rPr lang="cs-CZ" sz="1800" kern="1200" dirty="0">
                <a:solidFill>
                  <a:srgbClr val="363738"/>
                </a:solidFill>
                <a:latin typeface="Arial"/>
              </a:rPr>
              <a:t>SMR ETU (až 1 500 MW, tedy až 3x500 MW)</a:t>
            </a:r>
          </a:p>
          <a:p>
            <a:pPr marL="742950" lvl="1" indent="-285750" algn="l" rtl="0">
              <a:buClr>
                <a:srgbClr val="00C752"/>
              </a:buClr>
              <a:defRPr/>
            </a:pPr>
            <a:r>
              <a:rPr lang="cs-CZ" sz="1800" kern="1200" dirty="0">
                <a:solidFill>
                  <a:srgbClr val="363738"/>
                </a:solidFill>
                <a:latin typeface="Arial"/>
              </a:rPr>
              <a:t>Plocha současné elektrárny včetně částí okolních pozemků</a:t>
            </a:r>
          </a:p>
          <a:p>
            <a:pPr marL="742950" lvl="1" indent="-285750" algn="l" rtl="0">
              <a:buClr>
                <a:srgbClr val="00C752"/>
              </a:buClr>
              <a:defRPr/>
            </a:pPr>
            <a:r>
              <a:rPr lang="cs-CZ" sz="1800" kern="1200" dirty="0">
                <a:solidFill>
                  <a:srgbClr val="363738"/>
                </a:solidFill>
                <a:latin typeface="Arial"/>
                <a:cs typeface="Arial"/>
              </a:rPr>
              <a:t>Plán využití elektrické i tepelné energie</a:t>
            </a:r>
          </a:p>
          <a:p>
            <a:pPr marL="742950" lvl="1" indent="-285750" algn="l" rtl="0">
              <a:buClr>
                <a:srgbClr val="00C752"/>
              </a:buClr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C75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lvl="0" indent="0">
              <a:lnSpc>
                <a:spcPct val="107000"/>
              </a:lnSpc>
              <a:spcBef>
                <a:spcPts val="1200"/>
              </a:spcBef>
              <a:spcAft>
                <a:spcPts val="800"/>
              </a:spcAft>
              <a:buClrTx/>
              <a:buNone/>
            </a:pPr>
            <a:endParaRPr lang="cs-CZ" sz="1800" kern="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Bef>
                <a:spcPts val="1200"/>
              </a:spcBef>
              <a:spcAft>
                <a:spcPts val="600"/>
              </a:spcAft>
              <a:buClr>
                <a:srgbClr val="00C752"/>
              </a:buClr>
            </a:pPr>
            <a:endParaRPr lang="cs-CZ" sz="1800" kern="1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cs-CZ" dirty="0"/>
          </a:p>
        </p:txBody>
      </p:sp>
      <p:pic>
        <p:nvPicPr>
          <p:cNvPr id="10" name="Obrázek 9" descr="Obsah obrázku obloha, Elektrárna, Chladicí věž, Jaderná elektrárna&#10;&#10;Popis byl vytvořen automaticky">
            <a:extLst>
              <a:ext uri="{FF2B5EF4-FFF2-40B4-BE49-F238E27FC236}">
                <a16:creationId xmlns:a16="http://schemas.microsoft.com/office/drawing/2014/main" id="{CF14BAAA-9178-F157-BDB9-EF699CF84B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1799" y="1215977"/>
            <a:ext cx="5464122" cy="3620758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0AE3D232-522D-3958-C372-944B986F60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862" y="3051427"/>
            <a:ext cx="5464122" cy="3570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4048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 Office">
  <a:themeElements>
    <a:clrScheme name="CEZ">
      <a:dk1>
        <a:srgbClr val="FFFFFF"/>
      </a:dk1>
      <a:lt1>
        <a:srgbClr val="363738"/>
      </a:lt1>
      <a:dk2>
        <a:srgbClr val="F24F00"/>
      </a:dk2>
      <a:lt2>
        <a:srgbClr val="63666A"/>
      </a:lt2>
      <a:accent1>
        <a:srgbClr val="00C752"/>
      </a:accent1>
      <a:accent2>
        <a:srgbClr val="FF9C3D"/>
      </a:accent2>
      <a:accent3>
        <a:srgbClr val="FFDA9C"/>
      </a:accent3>
      <a:accent4>
        <a:srgbClr val="989EA3"/>
      </a:accent4>
      <a:accent5>
        <a:srgbClr val="005934"/>
      </a:accent5>
      <a:accent6>
        <a:srgbClr val="7FDB8F"/>
      </a:accent6>
      <a:hlink>
        <a:srgbClr val="363738"/>
      </a:hlink>
      <a:folHlink>
        <a:srgbClr val="36373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tandard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EZ_CZ" id="{EFEED11E-C385-4F5C-B353-96AEF8CB7231}" vid="{50FE5C02-4EBC-490E-908E-06B74B37C8A9}"/>
    </a:ext>
  </a:extLst>
</a:theme>
</file>

<file path=ppt/theme/theme2.xml><?xml version="1.0" encoding="utf-8"?>
<a:theme xmlns:a="http://schemas.openxmlformats.org/drawingml/2006/main" name="2_Theme Office">
  <a:themeElements>
    <a:clrScheme name="CEZ">
      <a:dk1>
        <a:srgbClr val="FFFFFF"/>
      </a:dk1>
      <a:lt1>
        <a:srgbClr val="363738"/>
      </a:lt1>
      <a:dk2>
        <a:srgbClr val="F24F00"/>
      </a:dk2>
      <a:lt2>
        <a:srgbClr val="63666A"/>
      </a:lt2>
      <a:accent1>
        <a:srgbClr val="00C752"/>
      </a:accent1>
      <a:accent2>
        <a:srgbClr val="FF9C3D"/>
      </a:accent2>
      <a:accent3>
        <a:srgbClr val="FFDA9C"/>
      </a:accent3>
      <a:accent4>
        <a:srgbClr val="989EA3"/>
      </a:accent4>
      <a:accent5>
        <a:srgbClr val="005934"/>
      </a:accent5>
      <a:accent6>
        <a:srgbClr val="7FDB8F"/>
      </a:accent6>
      <a:hlink>
        <a:srgbClr val="363738"/>
      </a:hlink>
      <a:folHlink>
        <a:srgbClr val="36373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tandard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EZ_CZ" id="{EFEED11E-C385-4F5C-B353-96AEF8CB7231}" vid="{50FE5C02-4EBC-490E-908E-06B74B37C8A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8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57871C93-A0A1-46D9-8F65-E1ECC3B78537}">
  <we:reference id="9a3772f3-f710-40bd-8cf3-8a00b5d7a26a" version="1.0.0.2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_x00e9_ma xmlns="0274f276-4367-435b-9770-a02c9f07a37f" xsi:nil="true"/>
    <Koment_x00e1__x0159_0 xmlns="0274f276-4367-435b-9770-a02c9f07a37f" xsi:nil="true"/>
    <_Flow_SignoffStatus xmlns="0274f276-4367-435b-9770-a02c9f07a37f" xsi:nil="true"/>
    <lcf76f155ced4ddcb4097134ff3c332f xmlns="0274f276-4367-435b-9770-a02c9f07a37f">
      <Terms xmlns="http://schemas.microsoft.com/office/infopath/2007/PartnerControls"/>
    </lcf76f155ced4ddcb4097134ff3c332f>
    <Podt_x00e9_ma xmlns="0274f276-4367-435b-9770-a02c9f07a37f" xsi:nil="true"/>
    <datum xmlns="0274f276-4367-435b-9770-a02c9f07a37f" xsi:nil="true"/>
    <Extern_x011b_sd_x00ed_lenos xmlns="0274f276-4367-435b-9770-a02c9f07a37f">
      <UserInfo>
        <DisplayName/>
        <AccountId xsi:nil="true"/>
        <AccountType/>
      </UserInfo>
    </Extern_x011b_sd_x00ed_lenos>
    <TaxCatchAll xmlns="afa6ef06-916f-4efb-b7d9-62516b048770" xsi:nil="true"/>
    <Koment_x00e1__x0159_ xmlns="0274f276-4367-435b-9770-a02c9f07a37f" xsi:nil="true"/>
    <Vedouc_x00ed_PP xmlns="0274f276-4367-435b-9770-a02c9f07a37f">
      <UserInfo>
        <DisplayName/>
        <AccountId xsi:nil="true"/>
        <AccountType/>
      </UserInfo>
    </Vedouc_x00ed_PP>
    <Dodavatel xmlns="0274f276-4367-435b-9770-a02c9f07a37f" xsi:nil="true"/>
    <Lokalita xmlns="0274f276-4367-435b-9770-a02c9f07a37f" xsi:nil="true"/>
    <Dot_x010d_en_x00e9_syst_x00e9_my xmlns="0274f276-4367-435b-9770-a02c9f07a37f" xsi:nil="true"/>
    <AgendaDatPIA xmlns="0274f276-4367-435b-9770-a02c9f07a37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68BBCDCCEEF854893DA5B9327BD1C47" ma:contentTypeVersion="32" ma:contentTypeDescription="Vytvoří nový dokument" ma:contentTypeScope="" ma:versionID="c9870e42ee29852d2516c04ca57042fc">
  <xsd:schema xmlns:xsd="http://www.w3.org/2001/XMLSchema" xmlns:xs="http://www.w3.org/2001/XMLSchema" xmlns:p="http://schemas.microsoft.com/office/2006/metadata/properties" xmlns:ns2="0274f276-4367-435b-9770-a02c9f07a37f" xmlns:ns3="afa6ef06-916f-4efb-b7d9-62516b048770" targetNamespace="http://schemas.microsoft.com/office/2006/metadata/properties" ma:root="true" ma:fieldsID="7ea0b8d426c6aee4d4262b1add1179d9" ns2:_="" ns3:_="">
    <xsd:import namespace="0274f276-4367-435b-9770-a02c9f07a37f"/>
    <xsd:import namespace="afa6ef06-916f-4efb-b7d9-62516b048770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_Flow_SignoffStatus" minOccurs="0"/>
                <xsd:element ref="ns2:Koment_x00e1__x0159_" minOccurs="0"/>
                <xsd:element ref="ns2:Vedouc_x00ed_PP" minOccurs="0"/>
                <xsd:element ref="ns2:MediaServiceSearchProperties" minOccurs="0"/>
                <xsd:element ref="ns2:Extern_x011b_sd_x00ed_lenos" minOccurs="0"/>
                <xsd:element ref="ns2:Koment_x00e1__x0159_0" minOccurs="0"/>
                <xsd:element ref="ns2:T_x00e9_ma" minOccurs="0"/>
                <xsd:element ref="ns2:Podt_x00e9_ma" minOccurs="0"/>
                <xsd:element ref="ns2:datum" minOccurs="0"/>
                <xsd:element ref="ns2:MediaServiceLocation" minOccurs="0"/>
                <xsd:element ref="ns2:Lokalita" minOccurs="0"/>
                <xsd:element ref="ns2:Dodavatel" minOccurs="0"/>
                <xsd:element ref="ns2:MediaServiceBillingMetadata" minOccurs="0"/>
                <xsd:element ref="ns2:Dot_x010d_en_x00e9_syst_x00e9_my" minOccurs="0"/>
                <xsd:element ref="ns2:AgendaDatPI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74f276-4367-435b-9770-a02c9f07a37f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Značky obrázků" ma:readOnly="false" ma:fieldId="{5cf76f15-5ced-4ddc-b409-7134ff3c332f}" ma:taxonomyMulti="true" ma:sspId="e1151224-86ec-40a8-ba2f-293eb4cb0ab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_Flow_SignoffStatus" ma:index="21" nillable="true" ma:displayName="Stav dokumentu" ma:format="Dropdown" ma:internalName="Stav_x0020_odsouhlasen_x00ed_">
      <xsd:complexType>
        <xsd:complexContent>
          <xsd:extension base="dms:MultiChoiceFillIn">
            <xsd:sequence>
              <xsd:element name="Value" maxOccurs="unbounded" minOccurs="0" nillable="true">
                <xsd:simpleType>
                  <xsd:union memberTypes="dms:Text">
                    <xsd:simpleType>
                      <xsd:restriction base="dms:Choice">
                        <xsd:enumeration value="Draft"/>
                        <xsd:enumeration value="Final"/>
                        <xsd:enumeration value="Místo pravdy"/>
                        <xsd:enumeration value="Aktivní"/>
                        <xsd:enumeration value="Neaktivní"/>
                        <xsd:enumeration value="Uzavřeno"/>
                      </xsd:restriction>
                    </xsd:simpleType>
                  </xsd:union>
                </xsd:simpleType>
              </xsd:element>
            </xsd:sequence>
          </xsd:extension>
        </xsd:complexContent>
      </xsd:complexType>
    </xsd:element>
    <xsd:element name="Koment_x00e1__x0159_" ma:index="22" nillable="true" ma:displayName="Komentář ČEZ" ma:description="Vyplnit po zkontrolování stav" ma:format="Dropdown" ma:internalName="Koment_x00e1__x0159_">
      <xsd:simpleType>
        <xsd:restriction base="dms:Note">
          <xsd:maxLength value="255"/>
        </xsd:restriction>
      </xsd:simpleType>
    </xsd:element>
    <xsd:element name="Vedouc_x00ed_PP" ma:index="23" nillable="true" ma:displayName="Zodpovědná osoba" ma:format="Dropdown" ma:list="UserInfo" ma:SharePointGroup="0" ma:internalName="Vedouc_x00ed_PP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Extern_x011b_sd_x00ed_lenos" ma:index="25" nillable="true" ma:displayName="Externě sdíleno s" ma:format="Dropdown" ma:list="UserInfo" ma:SharePointGroup="0" ma:internalName="Extern_x011b_sd_x00ed_leno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Koment_x00e1__x0159_0" ma:index="26" nillable="true" ma:displayName="Komentář od EGP" ma:description="Vyplnit zapracování připomínek" ma:format="Dropdown" ma:internalName="Koment_x00e1__x0159_0">
      <xsd:simpleType>
        <xsd:restriction base="dms:Note">
          <xsd:maxLength value="255"/>
        </xsd:restriction>
      </xsd:simpleType>
    </xsd:element>
    <xsd:element name="T_x00e9_ma" ma:index="27" nillable="true" ma:displayName="Téma" ma:format="Dropdown" ma:internalName="T_x00e9_ma">
      <xsd:simpleType>
        <xsd:restriction base="dms:Text">
          <xsd:maxLength value="255"/>
        </xsd:restriction>
      </xsd:simpleType>
    </xsd:element>
    <xsd:element name="Podt_x00e9_ma" ma:index="28" nillable="true" ma:displayName="Podtéma" ma:format="Dropdown" ma:internalName="Podt_x00e9_ma">
      <xsd:simpleType>
        <xsd:restriction base="dms:Text">
          <xsd:maxLength value="255"/>
        </xsd:restriction>
      </xsd:simpleType>
    </xsd:element>
    <xsd:element name="datum" ma:index="29" nillable="true" ma:displayName="datum" ma:format="DateOnly" ma:internalName="datum">
      <xsd:simpleType>
        <xsd:restriction base="dms:DateTime"/>
      </xsd:simpleType>
    </xsd:element>
    <xsd:element name="MediaServiceLocation" ma:index="30" nillable="true" ma:displayName="Location" ma:indexed="true" ma:internalName="MediaServiceLocation" ma:readOnly="true">
      <xsd:simpleType>
        <xsd:restriction base="dms:Text"/>
      </xsd:simpleType>
    </xsd:element>
    <xsd:element name="Lokalita" ma:index="31" nillable="true" ma:displayName="Lokalita" ma:format="Dropdown" ma:internalName="Lokalita">
      <xsd:simpleType>
        <xsd:union memberTypes="dms:Text">
          <xsd:simpleType>
            <xsd:restriction base="dms:Choice">
              <xsd:enumeration value="ETE"/>
              <xsd:enumeration value="ETU"/>
              <xsd:enumeration value="EDE"/>
            </xsd:restriction>
          </xsd:simpleType>
        </xsd:union>
      </xsd:simpleType>
    </xsd:element>
    <xsd:element name="Dodavatel" ma:index="32" nillable="true" ma:displayName="Dodavatel" ma:format="Dropdown" ma:internalName="Dodavatel">
      <xsd:simpleType>
        <xsd:restriction base="dms:Text">
          <xsd:maxLength value="255"/>
        </xsd:restriction>
      </xsd:simpleType>
    </xsd:element>
    <xsd:element name="MediaServiceBillingMetadata" ma:index="33" nillable="true" ma:displayName="MediaServiceBillingMetadata" ma:hidden="true" ma:internalName="MediaServiceBillingMetadata" ma:readOnly="true">
      <xsd:simpleType>
        <xsd:restriction base="dms:Note"/>
      </xsd:simpleType>
    </xsd:element>
    <xsd:element name="Dot_x010d_en_x00e9_syst_x00e9_my" ma:index="34" nillable="true" ma:displayName="Dotčené systémy" ma:format="Dropdown" ma:internalName="Dot_x010d_en_x00e9_syst_x00e9_my">
      <xsd:simpleType>
        <xsd:restriction base="dms:Text">
          <xsd:maxLength value="255"/>
        </xsd:restriction>
      </xsd:simpleType>
    </xsd:element>
    <xsd:element name="AgendaDatPIA" ma:index="35" nillable="true" ma:displayName="AgendaDatPIA" ma:format="DateTime" ma:internalName="AgendaDatPIA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a6ef06-916f-4efb-b7d9-62516b048770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703a8f8a-1393-4db3-b103-30c65df452b7}" ma:internalName="TaxCatchAll" ma:showField="CatchAllData" ma:web="afa6ef06-916f-4efb-b7d9-62516b04877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5A7FDB2-A4B9-4DFB-9874-0D6F7E98A68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8719B56-C9A0-45F6-88AE-58857A6E66A1}">
  <ds:schemaRefs>
    <ds:schemaRef ds:uri="0274f276-4367-435b-9770-a02c9f07a37f"/>
    <ds:schemaRef ds:uri="afa6ef06-916f-4efb-b7d9-62516b04877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8012D60-D8F1-40BD-B3E8-27F9757E950B}">
  <ds:schemaRefs>
    <ds:schemaRef ds:uri="0274f276-4367-435b-9770-a02c9f07a37f"/>
    <ds:schemaRef ds:uri="afa6ef06-916f-4efb-b7d9-62516b04877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dularita v našem životě - SJ</Template>
  <TotalTime>0</TotalTime>
  <Words>657</Words>
  <Application>Microsoft Office PowerPoint</Application>
  <PresentationFormat>Širokoúhlá obrazovka</PresentationFormat>
  <Paragraphs>129</Paragraphs>
  <Slides>14</Slides>
  <Notes>4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4</vt:i4>
      </vt:variant>
    </vt:vector>
  </HeadingPairs>
  <TitlesOfParts>
    <vt:vector size="21" baseType="lpstr">
      <vt:lpstr>Arial</vt:lpstr>
      <vt:lpstr>Calibri</vt:lpstr>
      <vt:lpstr>Wingdings</vt:lpstr>
      <vt:lpstr>Wingdings 2</vt:lpstr>
      <vt:lpstr>Theme Office</vt:lpstr>
      <vt:lpstr>2_Theme Office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Hriga Krejčí Kateřina</dc:creator>
  <cp:lastModifiedBy>Kačmár Jan</cp:lastModifiedBy>
  <cp:revision>1</cp:revision>
  <cp:lastPrinted>2025-06-26T13:41:03Z</cp:lastPrinted>
  <dcterms:created xsi:type="dcterms:W3CDTF">2024-08-13T11:53:08Z</dcterms:created>
  <dcterms:modified xsi:type="dcterms:W3CDTF">2025-10-15T05:1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68BBCDCCEEF854893DA5B9327BD1C47</vt:lpwstr>
  </property>
  <property fmtid="{D5CDD505-2E9C-101B-9397-08002B2CF9AE}" pid="3" name="MediaServiceImageTags">
    <vt:lpwstr/>
  </property>
  <property fmtid="{D5CDD505-2E9C-101B-9397-08002B2CF9AE}" pid="4" name="ClassificationContentMarkingHeaderLocations">
    <vt:lpwstr>Theme Office:3\2_Theme Office:3\CEZ:3\3_Theme Office:3</vt:lpwstr>
  </property>
  <property fmtid="{D5CDD505-2E9C-101B-9397-08002B2CF9AE}" pid="5" name="ClassificationContentMarkingHeaderText">
    <vt:lpwstr>Interní / Internal</vt:lpwstr>
  </property>
  <property fmtid="{D5CDD505-2E9C-101B-9397-08002B2CF9AE}" pid="6" name="MSIP_Label_eb09c82a-ef36-4b85-8d10-356afc45fe44_Enabled">
    <vt:lpwstr>true</vt:lpwstr>
  </property>
  <property fmtid="{D5CDD505-2E9C-101B-9397-08002B2CF9AE}" pid="7" name="MSIP_Label_eb09c82a-ef36-4b85-8d10-356afc45fe44_SetDate">
    <vt:lpwstr>2024-09-13T07:46:49Z</vt:lpwstr>
  </property>
  <property fmtid="{D5CDD505-2E9C-101B-9397-08002B2CF9AE}" pid="8" name="MSIP_Label_eb09c82a-ef36-4b85-8d10-356afc45fe44_Method">
    <vt:lpwstr>Privileged</vt:lpwstr>
  </property>
  <property fmtid="{D5CDD505-2E9C-101B-9397-08002B2CF9AE}" pid="9" name="MSIP_Label_eb09c82a-ef36-4b85-8d10-356afc45fe44_Name">
    <vt:lpwstr>L00091</vt:lpwstr>
  </property>
  <property fmtid="{D5CDD505-2E9C-101B-9397-08002B2CF9AE}" pid="10" name="MSIP_Label_eb09c82a-ef36-4b85-8d10-356afc45fe44_SiteId">
    <vt:lpwstr>b233f9e1-5599-4693-9cef-38858fe25406</vt:lpwstr>
  </property>
  <property fmtid="{D5CDD505-2E9C-101B-9397-08002B2CF9AE}" pid="11" name="MSIP_Label_eb09c82a-ef36-4b85-8d10-356afc45fe44_ActionId">
    <vt:lpwstr>aeaed24f-03b2-49e9-83c3-0a6357ae0c7a</vt:lpwstr>
  </property>
  <property fmtid="{D5CDD505-2E9C-101B-9397-08002B2CF9AE}" pid="12" name="MSIP_Label_eb09c82a-ef36-4b85-8d10-356afc45fe44_ContentBits">
    <vt:lpwstr>0</vt:lpwstr>
  </property>
  <property fmtid="{D5CDD505-2E9C-101B-9397-08002B2CF9AE}" pid="13" name="Test_DRIodeslání">
    <vt:bool>false</vt:bool>
  </property>
</Properties>
</file>